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notesSlides/notesSlide12.xml" ContentType="application/vnd.openxmlformats-officedocument.presentationml.notesSlide+xml"/>
  <Override PartName="/ppt/tags/tag22.xml" ContentType="application/vnd.openxmlformats-officedocument.presentationml.tags+xml"/>
  <Override PartName="/ppt/notesSlides/notesSlide13.xml" ContentType="application/vnd.openxmlformats-officedocument.presentationml.notesSlide+xml"/>
  <Override PartName="/ppt/tags/tag23.xml" ContentType="application/vnd.openxmlformats-officedocument.presentationml.tags+xml"/>
  <Override PartName="/ppt/notesSlides/notesSlide14.xml" ContentType="application/vnd.openxmlformats-officedocument.presentationml.notesSlide+xml"/>
  <Override PartName="/ppt/tags/tag24.xml" ContentType="application/vnd.openxmlformats-officedocument.presentationml.tags+xml"/>
  <Override PartName="/ppt/notesSlides/notesSlide15.xml" ContentType="application/vnd.openxmlformats-officedocument.presentationml.notesSlide+xml"/>
  <Override PartName="/ppt/tags/tag25.xml" ContentType="application/vnd.openxmlformats-officedocument.presentationml.tags+xml"/>
  <Override PartName="/ppt/notesSlides/notesSlide16.xml" ContentType="application/vnd.openxmlformats-officedocument.presentationml.notesSlide+xml"/>
  <Override PartName="/ppt/tags/tag26.xml" ContentType="application/vnd.openxmlformats-officedocument.presentationml.tags+xml"/>
  <Override PartName="/ppt/notesSlides/notesSlide17.xml" ContentType="application/vnd.openxmlformats-officedocument.presentationml.notesSlide+xml"/>
  <Override PartName="/ppt/tags/tag27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4"/>
    <p:sldMasterId id="2147483668" r:id="rId5"/>
    <p:sldMasterId id="2147483674" r:id="rId6"/>
    <p:sldMasterId id="2147483648" r:id="rId7"/>
    <p:sldMasterId id="2147483684" r:id="rId8"/>
    <p:sldMasterId id="2147483697" r:id="rId9"/>
    <p:sldMasterId id="2147483723" r:id="rId10"/>
    <p:sldMasterId id="2147483732" r:id="rId11"/>
  </p:sldMasterIdLst>
  <p:notesMasterIdLst>
    <p:notesMasterId r:id="rId32"/>
  </p:notesMasterIdLst>
  <p:handoutMasterIdLst>
    <p:handoutMasterId r:id="rId33"/>
  </p:handoutMasterIdLst>
  <p:sldIdLst>
    <p:sldId id="357" r:id="rId12"/>
    <p:sldId id="367" r:id="rId13"/>
    <p:sldId id="498" r:id="rId14"/>
    <p:sldId id="518" r:id="rId15"/>
    <p:sldId id="520" r:id="rId16"/>
    <p:sldId id="521" r:id="rId17"/>
    <p:sldId id="512" r:id="rId18"/>
    <p:sldId id="522" r:id="rId19"/>
    <p:sldId id="513" r:id="rId20"/>
    <p:sldId id="475" r:id="rId21"/>
    <p:sldId id="525" r:id="rId22"/>
    <p:sldId id="496" r:id="rId23"/>
    <p:sldId id="519" r:id="rId24"/>
    <p:sldId id="516" r:id="rId25"/>
    <p:sldId id="510" r:id="rId26"/>
    <p:sldId id="507" r:id="rId27"/>
    <p:sldId id="508" r:id="rId28"/>
    <p:sldId id="503" r:id="rId29"/>
    <p:sldId id="517" r:id="rId30"/>
    <p:sldId id="524" r:id="rId31"/>
  </p:sldIdLst>
  <p:sldSz cx="9144000" cy="5143500" type="screen16x9"/>
  <p:notesSz cx="9925050" cy="6665913"/>
  <p:custDataLst>
    <p:tags r:id="rId3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E6B14422-F31E-9D46-9921-86D94FBE8461}">
          <p14:sldIdLst>
            <p14:sldId id="357"/>
            <p14:sldId id="367"/>
            <p14:sldId id="498"/>
            <p14:sldId id="518"/>
            <p14:sldId id="520"/>
            <p14:sldId id="521"/>
            <p14:sldId id="512"/>
            <p14:sldId id="522"/>
            <p14:sldId id="513"/>
            <p14:sldId id="475"/>
            <p14:sldId id="525"/>
            <p14:sldId id="496"/>
            <p14:sldId id="519"/>
            <p14:sldId id="516"/>
            <p14:sldId id="510"/>
            <p14:sldId id="507"/>
            <p14:sldId id="508"/>
            <p14:sldId id="503"/>
            <p14:sldId id="517"/>
            <p14:sldId id="524"/>
          </p14:sldIdLst>
        </p14:section>
        <p14:section name="backup for icons/images" id="{8267907B-AC25-C043-B24D-4BB4AB94D2A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005293"/>
    <a:srgbClr val="0055A2"/>
    <a:srgbClr val="0065BD"/>
    <a:srgbClr val="FF9900"/>
    <a:srgbClr val="445064"/>
    <a:srgbClr val="666699"/>
    <a:srgbClr val="3333CC"/>
    <a:srgbClr val="1170C2"/>
    <a:srgbClr val="397B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956070-E73C-12B1-3A85-F5849C3A0B72}" v="184" dt="2022-07-10T21:19:34.327"/>
    <p1510:client id="{04018FAF-B4D3-C6CA-B2D6-AD73E49C6EF3}" v="393" dt="2022-07-11T09:48:03.696"/>
    <p1510:client id="{0F87973F-1F01-4692-638C-EC77CEDDEF0B}" v="26" dt="2022-07-11T20:20:06.607"/>
    <p1510:client id="{13CC0B4C-DDDD-4659-91AD-035238CDAD54}" v="1197" vWet="1205" dt="2022-07-11T20:44:21.622"/>
    <p1510:client id="{192D2CAD-6107-616E-B814-A99C3D1E2349}" v="56" dt="2022-07-11T20:07:18.317"/>
    <p1510:client id="{2AC07395-5964-304C-8DA7-EB947FF416CE}" v="21" dt="2022-07-10T21:33:09.514"/>
    <p1510:client id="{2D7B6FC0-65A0-BC77-9095-48355C83FAA2}" v="80" dt="2022-07-11T07:30:09.393"/>
    <p1510:client id="{2E96C168-BED2-DAA5-3FC6-5C68839D5B2F}" v="11" dt="2022-07-11T18:32:24.495"/>
    <p1510:client id="{3E3CBA3B-3747-04CA-6DFE-CABFE4E66E49}" v="17" dt="2022-07-11T04:00:08.660"/>
    <p1510:client id="{4D0E6A3F-0BD2-19AD-880A-9EC7B5BEB1F1}" v="277" dt="2022-07-11T20:08:36.312"/>
    <p1510:client id="{607DCA99-2C65-1868-5615-6629886CB880}" v="757" dt="2022-07-11T04:54:17.755"/>
    <p1510:client id="{69815CE8-00F7-DF02-02E0-4BA2495CEC0F}" v="125" dt="2022-07-11T17:17:52.725"/>
    <p1510:client id="{6F738A8A-3E9A-A7A6-7DE9-B6272C91F0FE}" v="4761" dt="2022-07-11T19:10:39.911"/>
    <p1510:client id="{74C49820-1846-8343-B641-88663E543465}" v="2704" dt="2022-07-11T20:46:21.847"/>
    <p1510:client id="{7E7A63E8-51DD-5DEC-C484-E2FE8EB41A9E}" v="51" dt="2022-07-11T11:01:03.492"/>
    <p1510:client id="{89070560-1119-4B25-8274-A25D105E01CF}" v="9" dt="2022-07-11T13:17:49.113"/>
    <p1510:client id="{93A00C71-62B4-447B-9CBE-8EF2FC041743}" v="1871" dt="2022-07-11T20:54:29.092"/>
    <p1510:client id="{9FC07E44-8593-2F75-FB92-A95812BE3C6D}" v="467" dt="2022-07-11T20:44:26.107"/>
    <p1510:client id="{AB41777D-385B-97E5-1806-C0D24BC4FB2E}" v="109" dt="2022-07-11T16:21:44.546"/>
    <p1510:client id="{B396724D-4886-F935-2852-33D2FC4D8168}" v="167" dt="2022-07-11T19:51:03.881"/>
    <p1510:client id="{B73633DD-F3DE-3EED-7357-FF859AC3EA4F}" v="2245" dt="2022-07-11T20:50:19.392"/>
    <p1510:client id="{B872A7EB-FB31-A041-A859-67B44141FFBE}" v="73" dt="2022-07-11T18:22:43.913"/>
    <p1510:client id="{CC6B31F6-1202-9DE9-F888-E65E2C426711}" v="106" dt="2022-07-11T18:13:20.589"/>
    <p1510:client id="{D61A508E-838B-9F7C-91F1-A87675FF18F9}" v="29" dt="2022-07-11T17:51:44.306"/>
    <p1510:client id="{DC9F36A6-3891-813A-0359-369368072E72}" v="99" dt="2022-07-11T04:14:50.984"/>
    <p1510:client id="{F1DD15D8-2C98-D586-0D23-78262733A227}" v="1094" dt="2022-07-11T19:21:11.860"/>
    <p1510:client id="{F70E4A9B-CBA0-D8FD-4BDF-7F79178AD4BB}" v="29" dt="2022-07-11T20:53:22.018"/>
    <p1510:client id="{FA3D687C-3636-DA29-4921-540197564B65}" v="97" dt="2022-07-11T20:00:15.443"/>
    <p1510:client id="{FE5B23DF-5BDF-F074-F9E7-AA7C7062E895}" v="740" dt="2022-07-11T10:02:36.080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0653"/>
    <p:restoredTop sz="84513" autoAdjust="0"/>
  </p:normalViewPr>
  <p:slideViewPr>
    <p:cSldViewPr snapToGrid="0">
      <p:cViewPr varScale="1">
        <p:scale>
          <a:sx n="122" d="100"/>
          <a:sy n="122" d="100"/>
        </p:scale>
        <p:origin x="1360" y="192"/>
      </p:cViewPr>
      <p:guideLst>
        <p:guide orient="horz" pos="2160"/>
        <p:guide pos="2880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microsoft.com/office/2015/10/relationships/revisionInfo" Target="revisionInfo.xml"/><Relationship Id="rId21" Type="http://schemas.openxmlformats.org/officeDocument/2006/relationships/slide" Target="slides/slide10.xml"/><Relationship Id="rId34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18/07/2022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18/07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0462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7722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19944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37158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10507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orked</a:t>
            </a:r>
            <a:r>
              <a:rPr lang="de-DE" dirty="0"/>
              <a:t> on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networ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tect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 and </a:t>
            </a:r>
            <a:r>
              <a:rPr lang="de-DE" dirty="0" err="1"/>
              <a:t>distinguish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different </a:t>
            </a:r>
            <a:r>
              <a:rPr lang="de-DE" dirty="0" err="1"/>
              <a:t>ones</a:t>
            </a:r>
            <a:r>
              <a:rPr lang="de-DE" dirty="0"/>
              <a:t>.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ra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network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ontrastive</a:t>
            </a:r>
            <a:r>
              <a:rPr lang="de-DE" dirty="0"/>
              <a:t> </a:t>
            </a:r>
            <a:r>
              <a:rPr lang="de-DE" dirty="0" err="1"/>
              <a:t>loss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ugment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 such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 but not </a:t>
            </a:r>
            <a:r>
              <a:rPr lang="de-DE" dirty="0" err="1"/>
              <a:t>the</a:t>
            </a:r>
            <a:r>
              <a:rPr lang="de-DE" dirty="0"/>
              <a:t> same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encode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 and </a:t>
            </a:r>
            <a:r>
              <a:rPr lang="de-DE" dirty="0" err="1"/>
              <a:t>use</a:t>
            </a:r>
            <a:r>
              <a:rPr lang="de-DE" dirty="0"/>
              <a:t> a </a:t>
            </a:r>
            <a:r>
              <a:rPr lang="de-DE" dirty="0" err="1"/>
              <a:t>predicto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lassif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mbeddings</a:t>
            </a:r>
            <a:r>
              <a:rPr lang="de-DE" dirty="0"/>
              <a:t>. The </a:t>
            </a:r>
            <a:r>
              <a:rPr lang="de-DE" dirty="0" err="1"/>
              <a:t>goa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ximize</a:t>
            </a:r>
            <a:r>
              <a:rPr lang="de-DE" dirty="0"/>
              <a:t> </a:t>
            </a:r>
            <a:r>
              <a:rPr lang="de-DE" dirty="0" err="1"/>
              <a:t>agreement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cosine</a:t>
            </a:r>
            <a:r>
              <a:rPr lang="de-DE" dirty="0"/>
              <a:t> </a:t>
            </a:r>
            <a:r>
              <a:rPr lang="de-DE" dirty="0" err="1"/>
              <a:t>similarity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0734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implementa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 Siamese Network </a:t>
            </a:r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a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feedback</a:t>
            </a:r>
            <a:r>
              <a:rPr lang="de-DE" dirty="0"/>
              <a:t> loop </a:t>
            </a:r>
            <a:r>
              <a:rPr lang="de-DE" dirty="0" err="1"/>
              <a:t>called</a:t>
            </a:r>
            <a:r>
              <a:rPr lang="de-DE" dirty="0"/>
              <a:t> </a:t>
            </a:r>
            <a:r>
              <a:rPr lang="de-DE" dirty="0" err="1"/>
              <a:t>greadient</a:t>
            </a:r>
            <a:r>
              <a:rPr lang="de-DE" dirty="0"/>
              <a:t> </a:t>
            </a:r>
            <a:r>
              <a:rPr lang="de-DE" dirty="0" err="1"/>
              <a:t>stopp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even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network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collapsing</a:t>
            </a:r>
            <a:r>
              <a:rPr lang="de-DE" dirty="0"/>
              <a:t>. A </a:t>
            </a:r>
            <a:r>
              <a:rPr lang="de-DE" dirty="0" err="1"/>
              <a:t>collapsed</a:t>
            </a:r>
            <a:r>
              <a:rPr lang="de-DE" dirty="0"/>
              <a:t> network </a:t>
            </a:r>
            <a:r>
              <a:rPr lang="de-DE" dirty="0" err="1"/>
              <a:t>can‘t</a:t>
            </a:r>
            <a:r>
              <a:rPr lang="de-DE" dirty="0"/>
              <a:t> </a:t>
            </a:r>
            <a:r>
              <a:rPr lang="de-DE" dirty="0" err="1"/>
              <a:t>distinguish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different </a:t>
            </a:r>
            <a:r>
              <a:rPr lang="de-DE" dirty="0" err="1"/>
              <a:t>pictures</a:t>
            </a:r>
            <a:r>
              <a:rPr lang="de-DE" dirty="0"/>
              <a:t> and </a:t>
            </a:r>
            <a:r>
              <a:rPr lang="de-DE" dirty="0" err="1"/>
              <a:t>classifies</a:t>
            </a:r>
            <a:r>
              <a:rPr lang="de-DE" dirty="0"/>
              <a:t>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 pair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a K </a:t>
            </a:r>
            <a:r>
              <a:rPr lang="de-DE" dirty="0" err="1"/>
              <a:t>nearest</a:t>
            </a:r>
            <a:r>
              <a:rPr lang="de-DE" dirty="0"/>
              <a:t> </a:t>
            </a:r>
            <a:r>
              <a:rPr lang="de-DE" dirty="0" err="1"/>
              <a:t>neighbour</a:t>
            </a:r>
            <a:r>
              <a:rPr lang="de-DE" dirty="0"/>
              <a:t> </a:t>
            </a:r>
            <a:r>
              <a:rPr lang="de-DE" dirty="0" err="1"/>
              <a:t>classifie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mbeddings</a:t>
            </a:r>
            <a:r>
              <a:rPr lang="de-DE" dirty="0"/>
              <a:t> and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achieve</a:t>
            </a:r>
            <a:r>
              <a:rPr lang="de-DE" dirty="0"/>
              <a:t> an </a:t>
            </a:r>
            <a:r>
              <a:rPr lang="de-DE" dirty="0" err="1"/>
              <a:t>accurac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66% in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experiments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69208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s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urrently</a:t>
            </a:r>
            <a:r>
              <a:rPr lang="de-DE" dirty="0"/>
              <a:t> </a:t>
            </a:r>
            <a:r>
              <a:rPr lang="de-DE" dirty="0" err="1"/>
              <a:t>tra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ncoder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</a:t>
            </a:r>
            <a:r>
              <a:rPr lang="de-DE" dirty="0" err="1"/>
              <a:t>bounding</a:t>
            </a:r>
            <a:r>
              <a:rPr lang="de-DE" dirty="0"/>
              <a:t> </a:t>
            </a:r>
            <a:r>
              <a:rPr lang="de-DE" dirty="0" err="1"/>
              <a:t>boxe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se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small</a:t>
            </a:r>
            <a:r>
              <a:rPr lang="de-DE" dirty="0"/>
              <a:t>. </a:t>
            </a:r>
            <a:r>
              <a:rPr lang="de-DE" dirty="0" err="1"/>
              <a:t>Going</a:t>
            </a:r>
            <a:r>
              <a:rPr lang="de-DE" dirty="0"/>
              <a:t> </a:t>
            </a:r>
            <a:r>
              <a:rPr lang="de-DE" dirty="0" err="1"/>
              <a:t>forward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xplore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ugmentation</a:t>
            </a:r>
            <a:r>
              <a:rPr lang="de-DE" dirty="0"/>
              <a:t> </a:t>
            </a:r>
            <a:r>
              <a:rPr lang="de-DE" dirty="0" err="1"/>
              <a:t>techniques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ictures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dama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mpro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ncoder</a:t>
            </a:r>
            <a:r>
              <a:rPr lang="de-DE" dirty="0"/>
              <a:t>. </a:t>
            </a:r>
          </a:p>
          <a:p>
            <a:r>
              <a:rPr lang="de-DE" dirty="0" err="1"/>
              <a:t>Additionall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valua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lu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ifferent </a:t>
            </a:r>
            <a:r>
              <a:rPr lang="de-DE" dirty="0" err="1"/>
              <a:t>classifier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mbeddings</a:t>
            </a:r>
            <a:r>
              <a:rPr lang="de-DE" dirty="0"/>
              <a:t> and </a:t>
            </a:r>
            <a:r>
              <a:rPr lang="de-DE" dirty="0" err="1"/>
              <a:t>thus</a:t>
            </a:r>
            <a:r>
              <a:rPr lang="de-DE" dirty="0"/>
              <a:t> </a:t>
            </a:r>
            <a:r>
              <a:rPr lang="de-DE" dirty="0" err="1"/>
              <a:t>impro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ccurac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63446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18285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085004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681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2906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>
                <a:latin typeface="Arial"/>
                <a:cs typeface="Arial"/>
              </a:rPr>
              <a:t>Functionality</a:t>
            </a:r>
            <a:r>
              <a:rPr lang="de-DE">
                <a:latin typeface="Arial"/>
                <a:cs typeface="Arial"/>
              </a:rPr>
              <a:t>, </a:t>
            </a:r>
            <a:r>
              <a:rPr lang="de-DE" err="1">
                <a:latin typeface="Arial"/>
                <a:cs typeface="Arial"/>
              </a:rPr>
              <a:t>wha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is</a:t>
            </a:r>
            <a:r>
              <a:rPr lang="de-DE">
                <a:latin typeface="Arial"/>
                <a:cs typeface="Arial"/>
              </a:rPr>
              <a:t> still </a:t>
            </a:r>
            <a:r>
              <a:rPr lang="de-DE" err="1">
                <a:latin typeface="Arial"/>
                <a:cs typeface="Arial"/>
              </a:rPr>
              <a:t>missing</a:t>
            </a:r>
            <a:r>
              <a:rPr lang="de-DE">
                <a:latin typeface="Arial"/>
                <a:cs typeface="Arial"/>
              </a:rPr>
              <a:t>, </a:t>
            </a:r>
            <a:r>
              <a:rPr lang="de-DE" err="1">
                <a:latin typeface="Arial"/>
                <a:cs typeface="Arial"/>
              </a:rPr>
              <a:t>features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w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migh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wan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to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add</a:t>
            </a:r>
            <a:endParaRPr lang="de-DE" err="1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28238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latin typeface="Arial"/>
                <a:cs typeface="Arial"/>
              </a:rPr>
              <a:t>Here </a:t>
            </a:r>
            <a:r>
              <a:rPr lang="de-DE" err="1">
                <a:latin typeface="Arial"/>
                <a:cs typeface="Arial"/>
              </a:rPr>
              <a:t>everything</a:t>
            </a:r>
            <a:r>
              <a:rPr lang="de-DE">
                <a:latin typeface="Arial"/>
                <a:cs typeface="Arial"/>
              </a:rPr>
              <a:t> </a:t>
            </a:r>
            <a:r>
              <a:rPr lang="de-DE" err="1">
                <a:latin typeface="Arial"/>
                <a:cs typeface="Arial"/>
              </a:rPr>
              <a:t>we</a:t>
            </a:r>
            <a:r>
              <a:rPr lang="de-DE">
                <a:latin typeface="Arial"/>
                <a:cs typeface="Arial"/>
              </a:rPr>
              <a:t> </a:t>
            </a:r>
            <a:r>
              <a:rPr lang="de-DE" err="1">
                <a:latin typeface="Arial"/>
                <a:cs typeface="Arial"/>
              </a:rPr>
              <a:t>know</a:t>
            </a:r>
            <a:r>
              <a:rPr lang="de-DE">
                <a:latin typeface="Arial"/>
                <a:cs typeface="Arial"/>
              </a:rPr>
              <a:t> </a:t>
            </a:r>
            <a:r>
              <a:rPr lang="de-DE" err="1">
                <a:latin typeface="Arial"/>
                <a:cs typeface="Arial"/>
              </a:rPr>
              <a:t>about</a:t>
            </a:r>
            <a:r>
              <a:rPr lang="de-DE">
                <a:latin typeface="Arial"/>
                <a:cs typeface="Arial"/>
              </a:rPr>
              <a:t> </a:t>
            </a:r>
            <a:r>
              <a:rPr lang="de-DE" err="1">
                <a:latin typeface="Arial"/>
                <a:cs typeface="Arial"/>
              </a:rPr>
              <a:t>augmentation</a:t>
            </a:r>
            <a:r>
              <a:rPr lang="de-DE">
                <a:latin typeface="Arial"/>
                <a:cs typeface="Arial"/>
              </a:rPr>
              <a:t> </a:t>
            </a:r>
            <a:r>
              <a:rPr lang="de-DE" err="1">
                <a:latin typeface="Arial"/>
                <a:cs typeface="Arial"/>
              </a:rPr>
              <a:t>is</a:t>
            </a:r>
            <a:r>
              <a:rPr lang="de-DE">
                <a:latin typeface="Arial"/>
                <a:cs typeface="Arial"/>
              </a:rPr>
              <a:t> </a:t>
            </a:r>
            <a:r>
              <a:rPr lang="de-DE" err="1">
                <a:latin typeface="Arial"/>
                <a:cs typeface="Arial"/>
              </a:rPr>
              <a:t>to</a:t>
            </a:r>
            <a:r>
              <a:rPr lang="de-DE">
                <a:latin typeface="Arial"/>
                <a:cs typeface="Arial"/>
              </a:rPr>
              <a:t> </a:t>
            </a:r>
            <a:r>
              <a:rPr lang="de-DE" err="1">
                <a:latin typeface="Arial"/>
                <a:cs typeface="Arial"/>
              </a:rPr>
              <a:t>be</a:t>
            </a:r>
            <a:r>
              <a:rPr lang="de-DE">
                <a:latin typeface="Arial"/>
                <a:cs typeface="Arial"/>
              </a:rPr>
              <a:t> </a:t>
            </a:r>
            <a:r>
              <a:rPr lang="de-DE" err="1">
                <a:latin typeface="Arial"/>
                <a:cs typeface="Arial"/>
              </a:rPr>
              <a:t>used</a:t>
            </a:r>
            <a:r>
              <a:rPr lang="de-DE">
                <a:latin typeface="Arial"/>
                <a:cs typeface="Arial"/>
              </a:rPr>
              <a:t>.</a:t>
            </a:r>
            <a:endParaRPr lang="en-US">
              <a:latin typeface="Arial"/>
              <a:cs typeface="Arial"/>
            </a:endParaRPr>
          </a:p>
          <a:p>
            <a:endParaRPr lang="de-DE"/>
          </a:p>
          <a:p>
            <a:r>
              <a:rPr lang="en-US">
                <a:latin typeface="Arial"/>
                <a:cs typeface="Arial"/>
              </a:rPr>
              <a:t>The census altering augmentation is it's separate category because:</a:t>
            </a:r>
            <a:endParaRPr lang="de-DE"/>
          </a:p>
          <a:p>
            <a:endParaRPr lang="en-US"/>
          </a:p>
          <a:p>
            <a:r>
              <a:rPr lang="en-US">
                <a:latin typeface="Arial"/>
                <a:cs typeface="Arial"/>
              </a:rPr>
              <a:t>color augmentations that change color averageness of an image will be used to make the count of each color the same. I.e. ratio of </a:t>
            </a:r>
            <a:r>
              <a:rPr lang="en-US" err="1">
                <a:latin typeface="Arial"/>
                <a:cs typeface="Arial"/>
              </a:rPr>
              <a:t>red,green,and</a:t>
            </a:r>
            <a:r>
              <a:rPr lang="en-US">
                <a:latin typeface="Arial"/>
                <a:cs typeface="Arial"/>
              </a:rPr>
              <a:t> blue images is 1:1:1</a:t>
            </a:r>
          </a:p>
          <a:p>
            <a:endParaRPr lang="de-DE"/>
          </a:p>
          <a:p>
            <a:r>
              <a:rPr lang="de-DE">
                <a:latin typeface="Arial"/>
                <a:cs typeface="Arial"/>
              </a:rPr>
              <a:t>After </a:t>
            </a:r>
            <a:r>
              <a:rPr lang="de-DE" err="1">
                <a:latin typeface="Arial"/>
                <a:cs typeface="Arial"/>
              </a:rPr>
              <a:t>tha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it's</a:t>
            </a:r>
            <a:r>
              <a:rPr lang="de-DE">
                <a:latin typeface="Arial"/>
                <a:cs typeface="Arial"/>
              </a:rPr>
              <a:t> all fair game </a:t>
            </a:r>
            <a:r>
              <a:rPr lang="de-DE" err="1">
                <a:latin typeface="Arial"/>
                <a:cs typeface="Arial"/>
              </a:rPr>
              <a:t>to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us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any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augmentations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to</a:t>
            </a:r>
            <a:r>
              <a:rPr lang="de-DE">
                <a:latin typeface="Arial"/>
                <a:cs typeface="Arial"/>
              </a:rPr>
              <a:t> </a:t>
            </a:r>
            <a:r>
              <a:rPr lang="de-DE" err="1">
                <a:latin typeface="Arial"/>
                <a:cs typeface="Arial"/>
              </a:rPr>
              <a:t>increas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th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siz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of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th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dataset</a:t>
            </a:r>
            <a:r>
              <a:rPr lang="de-DE">
                <a:latin typeface="Arial"/>
                <a:cs typeface="Arial"/>
              </a:rPr>
              <a:t>.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10142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77456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3247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22858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75778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05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7500" y="772597"/>
            <a:ext cx="8508999" cy="404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7501" y="282065"/>
            <a:ext cx="7891317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08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9903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1306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88" y="28619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788845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7500" y="772597"/>
            <a:ext cx="8508999" cy="404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7501" y="282065"/>
            <a:ext cx="7891317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319928"/>
            <a:ext cx="8508999" cy="3366372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300364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762678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0" y="770795"/>
            <a:ext cx="4180910" cy="3884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4002" y="770794"/>
            <a:ext cx="4180910" cy="3884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262449"/>
            <a:ext cx="7821445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319928"/>
            <a:ext cx="8508999" cy="3366372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300364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762678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4009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2560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319928"/>
            <a:ext cx="8508999" cy="3366372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300364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762678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4009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7500" y="772597"/>
            <a:ext cx="8508999" cy="404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7501" y="282065"/>
            <a:ext cx="7891317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303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5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857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1D21F32-748A-7992-9465-8D78D1DAC582}"/>
              </a:ext>
            </a:extLst>
          </p:cNvPr>
          <p:cNvSpPr/>
          <p:nvPr userDrawn="1"/>
        </p:nvSpPr>
        <p:spPr>
          <a:xfrm>
            <a:off x="6400800" y="0"/>
            <a:ext cx="2743200" cy="51435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2A1A407C-9199-C0CE-F9EF-9035B64A13A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3390" y="323850"/>
            <a:ext cx="604837" cy="319088"/>
            <a:chOff x="5177" y="204"/>
            <a:chExt cx="381" cy="201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82A20A04-003A-7EDC-41F0-0F6B0878346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177" y="204"/>
              <a:ext cx="38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3DF9767-C758-1DE4-8D1C-F67092E600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656362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7500" y="772597"/>
            <a:ext cx="8508999" cy="404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7501" y="282065"/>
            <a:ext cx="7891317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303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50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972001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19928"/>
            <a:ext cx="8508999" cy="3366372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300365"/>
            <a:ext cx="8508999" cy="383182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6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1" y="762679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4009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7501" y="772598"/>
            <a:ext cx="8508999" cy="404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7501" y="282066"/>
            <a:ext cx="7891317" cy="383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6"/>
            <a:ext cx="2052074" cy="273844"/>
          </a:xfrm>
          <a:prstGeom prst="rect">
            <a:avLst/>
          </a:prstGeom>
        </p:spPr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303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1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972001"/>
            <a:ext cx="8508999" cy="383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6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3" y="2148753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1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5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15177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857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6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/>
          <p:cNvSpPr txBox="1"/>
          <p:nvPr userDrawn="1"/>
        </p:nvSpPr>
        <p:spPr>
          <a:xfrm rot="16200000">
            <a:off x="7115177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2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50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5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857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2692204"/>
            <a:ext cx="1023938" cy="253722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717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319928"/>
            <a:ext cx="8508999" cy="3366372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300364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762678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6467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8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4.xml"/><Relationship Id="rId9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8778D7-668D-4A1E-8551-33378BF853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68497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8778D7-668D-4A1E-8551-33378BF853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0DA675F1-802B-41C3-8E3B-0BC107DD15D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62170" y="323850"/>
            <a:ext cx="604837" cy="319088"/>
            <a:chOff x="5177" y="204"/>
            <a:chExt cx="381" cy="201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1278AFA4-DDC6-42D4-A3F1-255C64185FE0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177" y="204"/>
              <a:ext cx="38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BC130FD9-BFBD-4E3E-B211-7A63652DB2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7" r:id="rId2"/>
    <p:sldLayoutId id="2147483718" r:id="rId3"/>
    <p:sldLayoutId id="2147483719" r:id="rId4"/>
    <p:sldLayoutId id="2147483720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2ABAD96-6BED-4CBD-ACB8-6A15D960E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26684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2ABAD96-6BED-4CBD-ACB8-6A15D960E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6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7102FA-13DD-410F-ACFD-3E0A64EE70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246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7102FA-13DD-410F-ACFD-3E0A64EE70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Datenverarbeitung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Elektrotechnik und Informations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DEB43FDA-C21A-4028-9F9D-04F9B847508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579582" y="163513"/>
            <a:ext cx="987425" cy="479425"/>
            <a:chOff x="4936" y="103"/>
            <a:chExt cx="622" cy="302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ABFAEBC5-4896-456F-AAD6-30E9B4EC63E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936" y="103"/>
              <a:ext cx="622" cy="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B5326C43-7159-488F-B003-343C26BFF0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13" r:id="rId2"/>
    <p:sldLayoutId id="2147483714" r:id="rId3"/>
    <p:sldLayoutId id="2147483715" r:id="rId4"/>
    <p:sldLayoutId id="2147483716" r:id="rId5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C6E8E4-7612-44D7-95DA-256B9BE87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8108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C6E8E4-7612-44D7-95DA-256B9BE87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776177CA-BC2D-4BD9-B4D9-4A6D15383F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77668" y="323850"/>
            <a:ext cx="604837" cy="319088"/>
            <a:chOff x="5177" y="204"/>
            <a:chExt cx="381" cy="201"/>
          </a:xfrm>
        </p:grpSpPr>
        <p:sp>
          <p:nvSpPr>
            <p:cNvPr id="4" name="AutoShape 3">
              <a:extLst>
                <a:ext uri="{FF2B5EF4-FFF2-40B4-BE49-F238E27FC236}">
                  <a16:creationId xmlns:a16="http://schemas.microsoft.com/office/drawing/2014/main" id="{9C8D5BA2-685A-4357-9CD4-C0DA2A2EDB1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177" y="204"/>
              <a:ext cx="38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10AAF334-35CA-488F-A06A-A270FC9254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  <p:sldLayoutId id="2147483712" r:id="rId9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E73EDA-7CBA-4F7F-A0D5-9EE5DF35EA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E73EDA-7CBA-4F7F-A0D5-9EE5DF35EA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1B74693-ED1D-4308-B6D6-5C29DA7B4B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8887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1B74693-ED1D-4308-B6D6-5C29DA7B4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8778D7-668D-4A1E-8551-33378BF853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68497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8778D7-668D-4A1E-8551-33378BF853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0DA675F1-802B-41C3-8E3B-0BC107DD15D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3390" y="323850"/>
            <a:ext cx="604837" cy="319088"/>
            <a:chOff x="5177" y="204"/>
            <a:chExt cx="381" cy="201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1278AFA4-DDC6-42D4-A3F1-255C64185FE0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177" y="204"/>
              <a:ext cx="38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BC130FD9-BFBD-4E3E-B211-7A63652DB2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30" r:id="rId6"/>
    <p:sldLayoutId id="2147483729" r:id="rId7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8778D7-668D-4A1E-8551-33378BF853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684978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8778D7-668D-4A1E-8551-33378BF853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6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6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0DA675F1-802B-41C3-8E3B-0BC107DD15D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3391" y="323851"/>
            <a:ext cx="604837" cy="319088"/>
            <a:chOff x="5177" y="204"/>
            <a:chExt cx="381" cy="201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1278AFA4-DDC6-42D4-A3F1-255C64185FE0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177" y="204"/>
              <a:ext cx="38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050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BC130FD9-BFBD-4E3E-B211-7A63652DB2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05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09" indent="-176209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54" indent="-184145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50" indent="-177796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57" indent="-176209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9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0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1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2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60.png"/><Relationship Id="rId18" Type="http://schemas.openxmlformats.org/officeDocument/2006/relationships/image" Target="../media/image65.png"/><Relationship Id="rId3" Type="http://schemas.openxmlformats.org/officeDocument/2006/relationships/notesSlide" Target="../notesSlides/notesSlide14.xml"/><Relationship Id="rId7" Type="http://schemas.openxmlformats.org/officeDocument/2006/relationships/oleObject" Target="../embeddings/oleObject21.bin"/><Relationship Id="rId12" Type="http://schemas.openxmlformats.org/officeDocument/2006/relationships/image" Target="../media/image59.png"/><Relationship Id="rId17" Type="http://schemas.openxmlformats.org/officeDocument/2006/relationships/image" Target="../media/image64.pn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63.png"/><Relationship Id="rId20" Type="http://schemas.openxmlformats.org/officeDocument/2006/relationships/image" Target="../media/image67.png"/><Relationship Id="rId1" Type="http://schemas.openxmlformats.org/officeDocument/2006/relationships/tags" Target="../tags/tag23.xml"/><Relationship Id="rId6" Type="http://schemas.microsoft.com/office/2007/relationships/hdphoto" Target="../media/hdphoto1.wdp"/><Relationship Id="rId11" Type="http://schemas.openxmlformats.org/officeDocument/2006/relationships/image" Target="../media/image58.png"/><Relationship Id="rId5" Type="http://schemas.openxmlformats.org/officeDocument/2006/relationships/image" Target="../media/image56.png"/><Relationship Id="rId15" Type="http://schemas.openxmlformats.org/officeDocument/2006/relationships/image" Target="../media/image62.png"/><Relationship Id="rId10" Type="http://schemas.openxmlformats.org/officeDocument/2006/relationships/image" Target="../media/image57.png"/><Relationship Id="rId19" Type="http://schemas.openxmlformats.org/officeDocument/2006/relationships/image" Target="../media/image66.png"/><Relationship Id="rId4" Type="http://schemas.openxmlformats.org/officeDocument/2006/relationships/image" Target="../media/image55.jpeg"/><Relationship Id="rId9" Type="http://schemas.openxmlformats.org/officeDocument/2006/relationships/image" Target="../media/image16.gif"/><Relationship Id="rId14" Type="http://schemas.openxmlformats.org/officeDocument/2006/relationships/image" Target="../media/image6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68.png"/><Relationship Id="rId12" Type="http://schemas.openxmlformats.org/officeDocument/2006/relationships/image" Target="../media/image72.sv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4.xml"/><Relationship Id="rId6" Type="http://schemas.openxmlformats.org/officeDocument/2006/relationships/image" Target="../media/image16.gif"/><Relationship Id="rId11" Type="http://schemas.openxmlformats.org/officeDocument/2006/relationships/image" Target="../media/image71.png"/><Relationship Id="rId5" Type="http://schemas.openxmlformats.org/officeDocument/2006/relationships/image" Target="../media/image1.emf"/><Relationship Id="rId10" Type="http://schemas.openxmlformats.org/officeDocument/2006/relationships/image" Target="../media/image70.sv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5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6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7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2.xml"/><Relationship Id="rId6" Type="http://schemas.openxmlformats.org/officeDocument/2006/relationships/image" Target="../media/image16.gif"/><Relationship Id="rId11" Type="http://schemas.openxmlformats.org/officeDocument/2006/relationships/image" Target="../media/image21.pn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23.png"/><Relationship Id="rId9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6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33.png"/><Relationship Id="rId18" Type="http://schemas.openxmlformats.org/officeDocument/2006/relationships/image" Target="../media/image38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36.png"/><Relationship Id="rId1" Type="http://schemas.openxmlformats.org/officeDocument/2006/relationships/tags" Target="../tags/tag16.xml"/><Relationship Id="rId6" Type="http://schemas.openxmlformats.org/officeDocument/2006/relationships/image" Target="../media/image16.gif"/><Relationship Id="rId11" Type="http://schemas.openxmlformats.org/officeDocument/2006/relationships/image" Target="../media/image31.png"/><Relationship Id="rId5" Type="http://schemas.openxmlformats.org/officeDocument/2006/relationships/image" Target="../media/image1.emf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5.png"/><Relationship Id="rId18" Type="http://schemas.openxmlformats.org/officeDocument/2006/relationships/image" Target="../media/image50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9.png"/><Relationship Id="rId12" Type="http://schemas.openxmlformats.org/officeDocument/2006/relationships/image" Target="../media/image44.svg"/><Relationship Id="rId17" Type="http://schemas.openxmlformats.org/officeDocument/2006/relationships/image" Target="../media/image49.png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48.svg"/><Relationship Id="rId1" Type="http://schemas.openxmlformats.org/officeDocument/2006/relationships/tags" Target="../tags/tag17.xml"/><Relationship Id="rId6" Type="http://schemas.openxmlformats.org/officeDocument/2006/relationships/image" Target="../media/image16.gif"/><Relationship Id="rId11" Type="http://schemas.openxmlformats.org/officeDocument/2006/relationships/image" Target="../media/image43.png"/><Relationship Id="rId5" Type="http://schemas.openxmlformats.org/officeDocument/2006/relationships/image" Target="../media/image1.emf"/><Relationship Id="rId15" Type="http://schemas.openxmlformats.org/officeDocument/2006/relationships/image" Target="../media/image47.png"/><Relationship Id="rId10" Type="http://schemas.openxmlformats.org/officeDocument/2006/relationships/image" Target="../media/image42.sv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41.png"/><Relationship Id="rId14" Type="http://schemas.openxmlformats.org/officeDocument/2006/relationships/image" Target="../media/image4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8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758313-EA02-4F3B-B4C0-E41387B7AB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356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758313-EA02-4F3B-B4C0-E41387B7A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19088" y="286190"/>
            <a:ext cx="8508999" cy="380810"/>
          </a:xfrm>
        </p:spPr>
        <p:txBody>
          <a:bodyPr vert="horz"/>
          <a:lstStyle/>
          <a:p>
            <a:r>
              <a:rPr lang="en-US"/>
              <a:t>Pecha Kucha 3 – From prototyping to the final product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319088" y="1274954"/>
            <a:ext cx="8508999" cy="955594"/>
          </a:xfrm>
        </p:spPr>
        <p:txBody>
          <a:bodyPr/>
          <a:lstStyle/>
          <a:p>
            <a:r>
              <a:rPr lang="en-US" noProof="0"/>
              <a:t>Group 4</a:t>
            </a:r>
          </a:p>
          <a:p>
            <a:r>
              <a:rPr lang="en-US"/>
              <a:t>Amadou, </a:t>
            </a:r>
            <a:r>
              <a:rPr lang="en-US" err="1"/>
              <a:t>Anouar</a:t>
            </a:r>
            <a:r>
              <a:rPr lang="en-US"/>
              <a:t>, Dennis, Gregor, </a:t>
            </a:r>
            <a:r>
              <a:rPr lang="en-US" err="1"/>
              <a:t>Linyan</a:t>
            </a:r>
            <a:r>
              <a:rPr lang="en-US"/>
              <a:t>, Magdalena, Melina, Nils, Thu, </a:t>
            </a:r>
            <a:r>
              <a:rPr lang="en-US" err="1"/>
              <a:t>Xiaogang</a:t>
            </a:r>
            <a:endParaRPr lang="en-US" noProof="0"/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13ECE376-5DCA-442E-B296-53F7493A66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9074" y="2944765"/>
            <a:ext cx="979694" cy="979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>
            <a:extLst>
              <a:ext uri="{FF2B5EF4-FFF2-40B4-BE49-F238E27FC236}">
                <a16:creationId xmlns:a16="http://schemas.microsoft.com/office/drawing/2014/main" id="{D6ECE8A6-78DB-4DDC-B17E-6C091F7C6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6370" y="2944764"/>
            <a:ext cx="979694" cy="979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EB13BAD-74ED-479B-851D-36B8E887BE9F}"/>
              </a:ext>
            </a:extLst>
          </p:cNvPr>
          <p:cNvGrpSpPr/>
          <p:nvPr/>
        </p:nvGrpSpPr>
        <p:grpSpPr>
          <a:xfrm>
            <a:off x="331234" y="2396300"/>
            <a:ext cx="979694" cy="2150835"/>
            <a:chOff x="211966" y="2826992"/>
            <a:chExt cx="979694" cy="2150835"/>
          </a:xfrm>
        </p:grpSpPr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DBF11185-794B-438D-BA31-6606B7511C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966" y="2826992"/>
              <a:ext cx="979694" cy="97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9" name="Picture 7">
              <a:extLst>
                <a:ext uri="{FF2B5EF4-FFF2-40B4-BE49-F238E27FC236}">
                  <a16:creationId xmlns:a16="http://schemas.microsoft.com/office/drawing/2014/main" id="{A14145EB-8C95-4D7C-8683-23FFF891C0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966" y="3991135"/>
              <a:ext cx="979694" cy="9866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082" name="Picture 10">
            <a:extLst>
              <a:ext uri="{FF2B5EF4-FFF2-40B4-BE49-F238E27FC236}">
                <a16:creationId xmlns:a16="http://schemas.microsoft.com/office/drawing/2014/main" id="{DE993577-C696-4C3A-B5C6-0BC8B80439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1506" y="2944764"/>
            <a:ext cx="979694" cy="979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3" name="Picture 11">
            <a:extLst>
              <a:ext uri="{FF2B5EF4-FFF2-40B4-BE49-F238E27FC236}">
                <a16:creationId xmlns:a16="http://schemas.microsoft.com/office/drawing/2014/main" id="{FB93DBB5-C771-405B-A32A-BAE4BE2C7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802" y="2941266"/>
            <a:ext cx="979694" cy="986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3DEED03-9D49-4E2E-BAED-A5CB1327D19E}"/>
              </a:ext>
            </a:extLst>
          </p:cNvPr>
          <p:cNvGrpSpPr/>
          <p:nvPr/>
        </p:nvGrpSpPr>
        <p:grpSpPr>
          <a:xfrm>
            <a:off x="4073938" y="2396300"/>
            <a:ext cx="979694" cy="2147337"/>
            <a:chOff x="4023625" y="2826992"/>
            <a:chExt cx="979694" cy="2147337"/>
          </a:xfrm>
        </p:grpSpPr>
        <p:pic>
          <p:nvPicPr>
            <p:cNvPr id="3075" name="Picture 3">
              <a:extLst>
                <a:ext uri="{FF2B5EF4-FFF2-40B4-BE49-F238E27FC236}">
                  <a16:creationId xmlns:a16="http://schemas.microsoft.com/office/drawing/2014/main" id="{3369EEBA-ECC0-4FE2-B6EB-69F117712B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3625" y="2826992"/>
              <a:ext cx="979694" cy="97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6">
              <a:extLst>
                <a:ext uri="{FF2B5EF4-FFF2-40B4-BE49-F238E27FC236}">
                  <a16:creationId xmlns:a16="http://schemas.microsoft.com/office/drawing/2014/main" id="{B29CA7C9-F66E-4BE8-92D3-D32F229F0B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3625" y="3994633"/>
              <a:ext cx="979694" cy="97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3B420-9EE0-41BB-9BD0-A8B9EC25FC72}"/>
              </a:ext>
            </a:extLst>
          </p:cNvPr>
          <p:cNvGrpSpPr/>
          <p:nvPr/>
        </p:nvGrpSpPr>
        <p:grpSpPr>
          <a:xfrm>
            <a:off x="7816645" y="2396300"/>
            <a:ext cx="979694" cy="2147338"/>
            <a:chOff x="7697377" y="2826992"/>
            <a:chExt cx="979694" cy="2147338"/>
          </a:xfrm>
        </p:grpSpPr>
        <p:pic>
          <p:nvPicPr>
            <p:cNvPr id="3080" name="Picture 8">
              <a:extLst>
                <a:ext uri="{FF2B5EF4-FFF2-40B4-BE49-F238E27FC236}">
                  <a16:creationId xmlns:a16="http://schemas.microsoft.com/office/drawing/2014/main" id="{7EB2B35A-B425-47A0-B088-20B7FA6096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7377" y="2826992"/>
              <a:ext cx="979694" cy="97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>
              <a:extLst>
                <a:ext uri="{FF2B5EF4-FFF2-40B4-BE49-F238E27FC236}">
                  <a16:creationId xmlns:a16="http://schemas.microsoft.com/office/drawing/2014/main" id="{44F06AC6-BB07-44AE-8BCF-F16E3F191E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7377" y="3994634"/>
              <a:ext cx="979694" cy="97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GB"/>
              <a:t>Introducing transfer learning</a:t>
            </a:r>
            <a:endParaRPr lang="en-GB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1C34F4-C5F7-2997-9A4E-B5C6FFA692B1}"/>
              </a:ext>
            </a:extLst>
          </p:cNvPr>
          <p:cNvSpPr txBox="1"/>
          <p:nvPr/>
        </p:nvSpPr>
        <p:spPr>
          <a:xfrm>
            <a:off x="4882924" y="2839848"/>
            <a:ext cx="4153858" cy="12073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113999"/>
              </a:lnSpc>
            </a:pPr>
            <a:r>
              <a:rPr lang="en-US" sz="1400" b="1">
                <a:latin typeface="+mn-lt"/>
                <a:cs typeface="Arial"/>
              </a:rPr>
              <a:t>Motivation:</a:t>
            </a:r>
            <a:endParaRPr lang="en-US" sz="1400" b="1"/>
          </a:p>
          <a:p>
            <a:pPr marL="285750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Baseline model is SOTA</a:t>
            </a:r>
            <a:endParaRPr lang="en-US" sz="1400"/>
          </a:p>
          <a:p>
            <a:pPr marL="285750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Effective with a small number of training images</a:t>
            </a:r>
            <a:endParaRPr lang="en-US" sz="1400"/>
          </a:p>
          <a:p>
            <a:pPr marL="285750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Computationally efficient</a:t>
            </a:r>
          </a:p>
          <a:p>
            <a:pPr marL="285750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Easily implemen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68036A-C4AF-0996-8A17-FF36CA06D906}"/>
              </a:ext>
            </a:extLst>
          </p:cNvPr>
          <p:cNvSpPr txBox="1"/>
          <p:nvPr/>
        </p:nvSpPr>
        <p:spPr>
          <a:xfrm>
            <a:off x="4880197" y="1249602"/>
            <a:ext cx="4078730" cy="12073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 b="1">
                <a:latin typeface="+mn-lt"/>
                <a:cs typeface="Arial"/>
              </a:rPr>
              <a:t>Project context</a:t>
            </a:r>
          </a:p>
          <a:p>
            <a:pPr marL="285750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Low hanging fruit</a:t>
            </a:r>
          </a:p>
          <a:p>
            <a:pPr marL="285750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Get a first model around which the project can grow</a:t>
            </a:r>
          </a:p>
          <a:p>
            <a:pPr marL="285750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Benchmark for future models</a:t>
            </a:r>
          </a:p>
        </p:txBody>
      </p:sp>
      <p:pic>
        <p:nvPicPr>
          <p:cNvPr id="10" name="Picture 10" descr="Diagram&#10;&#10;Description automatically generated">
            <a:extLst>
              <a:ext uri="{FF2B5EF4-FFF2-40B4-BE49-F238E27FC236}">
                <a16:creationId xmlns:a16="http://schemas.microsoft.com/office/drawing/2014/main" id="{336BC77B-7DB5-8483-904A-38E185A42C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0969" y="1662461"/>
            <a:ext cx="3465662" cy="1642455"/>
          </a:xfrm>
          <a:prstGeom prst="rect">
            <a:avLst/>
          </a:prstGeom>
        </p:spPr>
      </p:pic>
      <p:sp>
        <p:nvSpPr>
          <p:cNvPr id="16" name="Rechteckige Legende 86">
            <a:extLst>
              <a:ext uri="{FF2B5EF4-FFF2-40B4-BE49-F238E27FC236}">
                <a16:creationId xmlns:a16="http://schemas.microsoft.com/office/drawing/2014/main" id="{3151FFE8-8C6A-0538-4DA5-67902618C0E9}"/>
              </a:ext>
            </a:extLst>
          </p:cNvPr>
          <p:cNvSpPr/>
          <p:nvPr/>
        </p:nvSpPr>
        <p:spPr>
          <a:xfrm>
            <a:off x="374650" y="3554942"/>
            <a:ext cx="1437530" cy="263342"/>
          </a:xfrm>
          <a:prstGeom prst="wedgeRectCallout">
            <a:avLst>
              <a:gd name="adj1" fmla="val -35770"/>
              <a:gd name="adj2" fmla="val -96227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150">
                <a:cs typeface="Arial"/>
              </a:rPr>
              <a:t>Specific train data</a:t>
            </a:r>
          </a:p>
        </p:txBody>
      </p:sp>
      <p:sp>
        <p:nvSpPr>
          <p:cNvPr id="17" name="Rechteckige Legende 86">
            <a:extLst>
              <a:ext uri="{FF2B5EF4-FFF2-40B4-BE49-F238E27FC236}">
                <a16:creationId xmlns:a16="http://schemas.microsoft.com/office/drawing/2014/main" id="{8C85D6FF-D287-68AB-5858-B8853E222513}"/>
              </a:ext>
            </a:extLst>
          </p:cNvPr>
          <p:cNvSpPr/>
          <p:nvPr/>
        </p:nvSpPr>
        <p:spPr>
          <a:xfrm>
            <a:off x="424038" y="2345771"/>
            <a:ext cx="1437530" cy="263342"/>
          </a:xfrm>
          <a:prstGeom prst="wedgeRectCallout">
            <a:avLst>
              <a:gd name="adj1" fmla="val -35770"/>
              <a:gd name="adj2" fmla="val -96227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150">
                <a:cs typeface="Arial"/>
              </a:rPr>
              <a:t>General train data</a:t>
            </a:r>
          </a:p>
        </p:txBody>
      </p:sp>
      <p:sp>
        <p:nvSpPr>
          <p:cNvPr id="19" name="Rechteckige Legende 65">
            <a:extLst>
              <a:ext uri="{FF2B5EF4-FFF2-40B4-BE49-F238E27FC236}">
                <a16:creationId xmlns:a16="http://schemas.microsoft.com/office/drawing/2014/main" id="{EC62A2A4-C7B0-BF19-614B-DF2BDA41A0E2}"/>
              </a:ext>
            </a:extLst>
          </p:cNvPr>
          <p:cNvSpPr/>
          <p:nvPr/>
        </p:nvSpPr>
        <p:spPr>
          <a:xfrm>
            <a:off x="3083456" y="2381674"/>
            <a:ext cx="1689022" cy="263342"/>
          </a:xfrm>
          <a:prstGeom prst="wedgeRectCallout">
            <a:avLst>
              <a:gd name="adj1" fmla="val -74370"/>
              <a:gd name="adj2" fmla="val -27747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3999"/>
              </a:lnSpc>
            </a:pPr>
            <a:r>
              <a:rPr lang="en-US" sz="1150"/>
              <a:t>Learned knowledge</a:t>
            </a:r>
            <a:endParaRPr lang="en-US"/>
          </a:p>
        </p:txBody>
      </p:sp>
      <p:sp>
        <p:nvSpPr>
          <p:cNvPr id="20" name="Rechteckige Legende 86">
            <a:extLst>
              <a:ext uri="{FF2B5EF4-FFF2-40B4-BE49-F238E27FC236}">
                <a16:creationId xmlns:a16="http://schemas.microsoft.com/office/drawing/2014/main" id="{A8D90FAA-2C02-3D36-E0C7-5BF3DBAACF21}"/>
              </a:ext>
            </a:extLst>
          </p:cNvPr>
          <p:cNvSpPr/>
          <p:nvPr/>
        </p:nvSpPr>
        <p:spPr>
          <a:xfrm>
            <a:off x="3083456" y="3554942"/>
            <a:ext cx="1437530" cy="263342"/>
          </a:xfrm>
          <a:prstGeom prst="wedgeRectCallout">
            <a:avLst>
              <a:gd name="adj1" fmla="val -35770"/>
              <a:gd name="adj2" fmla="val -96227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150">
                <a:cs typeface="Arial"/>
              </a:rPr>
              <a:t>Specific test dat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1D2DB9F-8015-6966-A2F5-D7A1576CB32C}"/>
              </a:ext>
            </a:extLst>
          </p:cNvPr>
          <p:cNvSpPr txBox="1"/>
          <p:nvPr/>
        </p:nvSpPr>
        <p:spPr>
          <a:xfrm>
            <a:off x="374650" y="1251818"/>
            <a:ext cx="2743200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 b="1">
                <a:latin typeface="+mn-lt"/>
                <a:cs typeface="Arial"/>
              </a:rPr>
              <a:t>What is transfer learning?</a:t>
            </a:r>
            <a:endParaRPr lang="en-US" sz="1400" b="1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9B984753-91EB-D707-A05C-E39A51BAAF9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>
                <a:latin typeface="Arial"/>
                <a:cs typeface="Arial"/>
              </a:rPr>
              <a:t>processing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de-DE" b="1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543BCEA-F4D4-EABC-23D4-245FB1BA5A82}"/>
              </a:ext>
            </a:extLst>
          </p:cNvPr>
          <p:cNvSpPr/>
          <p:nvPr/>
        </p:nvSpPr>
        <p:spPr>
          <a:xfrm>
            <a:off x="1784523" y="2828138"/>
            <a:ext cx="939695" cy="471062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000"/>
              <a:t>new model</a:t>
            </a:r>
            <a:endParaRPr lang="en-US" sz="1000">
              <a:cs typeface="Arial"/>
            </a:endParaRPr>
          </a:p>
        </p:txBody>
      </p:sp>
      <p:sp>
        <p:nvSpPr>
          <p:cNvPr id="12" name="Rechteck 30">
            <a:extLst>
              <a:ext uri="{FF2B5EF4-FFF2-40B4-BE49-F238E27FC236}">
                <a16:creationId xmlns:a16="http://schemas.microsoft.com/office/drawing/2014/main" id="{34F07688-A1F7-BA09-A022-EC4420B2D85B}"/>
              </a:ext>
            </a:extLst>
          </p:cNvPr>
          <p:cNvSpPr/>
          <p:nvPr/>
        </p:nvSpPr>
        <p:spPr>
          <a:xfrm>
            <a:off x="1783471" y="1660145"/>
            <a:ext cx="948004" cy="4836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999"/>
              </a:lnSpc>
            </a:pPr>
            <a:r>
              <a:rPr lang="en-US" sz="1000"/>
              <a:t>Baseline model</a:t>
            </a:r>
            <a:endParaRPr lang="de-DE" sz="1000">
              <a:cs typeface="Arial"/>
            </a:endParaRPr>
          </a:p>
        </p:txBody>
      </p:sp>
      <p:cxnSp>
        <p:nvCxnSpPr>
          <p:cNvPr id="14" name="Gerade Verbindung mit Pfeil 75">
            <a:extLst>
              <a:ext uri="{FF2B5EF4-FFF2-40B4-BE49-F238E27FC236}">
                <a16:creationId xmlns:a16="http://schemas.microsoft.com/office/drawing/2014/main" id="{82DDA7DB-4DF6-D272-DFBC-5E72EB54737C}"/>
              </a:ext>
            </a:extLst>
          </p:cNvPr>
          <p:cNvCxnSpPr>
            <a:cxnSpLocks/>
          </p:cNvCxnSpPr>
          <p:nvPr/>
        </p:nvCxnSpPr>
        <p:spPr>
          <a:xfrm flipH="1">
            <a:off x="2252750" y="2141921"/>
            <a:ext cx="4723" cy="223636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75">
            <a:extLst>
              <a:ext uri="{FF2B5EF4-FFF2-40B4-BE49-F238E27FC236}">
                <a16:creationId xmlns:a16="http://schemas.microsoft.com/office/drawing/2014/main" id="{C112C0FA-641E-5A38-1ECE-B6AA54B133BF}"/>
              </a:ext>
            </a:extLst>
          </p:cNvPr>
          <p:cNvCxnSpPr>
            <a:cxnSpLocks/>
          </p:cNvCxnSpPr>
          <p:nvPr/>
        </p:nvCxnSpPr>
        <p:spPr>
          <a:xfrm>
            <a:off x="2249287" y="2662725"/>
            <a:ext cx="4723" cy="171682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75">
            <a:extLst>
              <a:ext uri="{FF2B5EF4-FFF2-40B4-BE49-F238E27FC236}">
                <a16:creationId xmlns:a16="http://schemas.microsoft.com/office/drawing/2014/main" id="{B7BE8CA6-20AD-3866-E7FC-E849028B523D}"/>
              </a:ext>
            </a:extLst>
          </p:cNvPr>
          <p:cNvCxnSpPr>
            <a:cxnSpLocks/>
          </p:cNvCxnSpPr>
          <p:nvPr/>
        </p:nvCxnSpPr>
        <p:spPr>
          <a:xfrm flipV="1">
            <a:off x="2726324" y="1899226"/>
            <a:ext cx="325896" cy="3074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75">
            <a:extLst>
              <a:ext uri="{FF2B5EF4-FFF2-40B4-BE49-F238E27FC236}">
                <a16:creationId xmlns:a16="http://schemas.microsoft.com/office/drawing/2014/main" id="{A4C07B83-FF8D-3BAA-973C-9F706FC7452F}"/>
              </a:ext>
            </a:extLst>
          </p:cNvPr>
          <p:cNvCxnSpPr>
            <a:cxnSpLocks/>
          </p:cNvCxnSpPr>
          <p:nvPr/>
        </p:nvCxnSpPr>
        <p:spPr>
          <a:xfrm flipV="1">
            <a:off x="1457059" y="1905209"/>
            <a:ext cx="325896" cy="3074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75">
            <a:extLst>
              <a:ext uri="{FF2B5EF4-FFF2-40B4-BE49-F238E27FC236}">
                <a16:creationId xmlns:a16="http://schemas.microsoft.com/office/drawing/2014/main" id="{C5A64D9F-B9ED-8CD6-B8EF-85818BDA1F52}"/>
              </a:ext>
            </a:extLst>
          </p:cNvPr>
          <p:cNvCxnSpPr>
            <a:cxnSpLocks/>
          </p:cNvCxnSpPr>
          <p:nvPr/>
        </p:nvCxnSpPr>
        <p:spPr>
          <a:xfrm flipV="1">
            <a:off x="2727584" y="3062378"/>
            <a:ext cx="325896" cy="3074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75">
            <a:extLst>
              <a:ext uri="{FF2B5EF4-FFF2-40B4-BE49-F238E27FC236}">
                <a16:creationId xmlns:a16="http://schemas.microsoft.com/office/drawing/2014/main" id="{80406448-A7D5-DD94-3BBF-5EF694FD5633}"/>
              </a:ext>
            </a:extLst>
          </p:cNvPr>
          <p:cNvCxnSpPr>
            <a:cxnSpLocks/>
          </p:cNvCxnSpPr>
          <p:nvPr/>
        </p:nvCxnSpPr>
        <p:spPr>
          <a:xfrm flipV="1">
            <a:off x="1457059" y="3062378"/>
            <a:ext cx="325896" cy="3074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25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GB"/>
              <a:t>Implementing transfer learning</a:t>
            </a:r>
            <a:endParaRPr lang="en-GB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1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40D8199-E5BE-F679-011F-DAE51FA909B5}"/>
              </a:ext>
            </a:extLst>
          </p:cNvPr>
          <p:cNvSpPr txBox="1"/>
          <p:nvPr/>
        </p:nvSpPr>
        <p:spPr>
          <a:xfrm>
            <a:off x="749782" y="2065784"/>
            <a:ext cx="6165964" cy="9618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 b="1">
                <a:latin typeface="+mn-lt"/>
                <a:cs typeface="Arial"/>
              </a:rPr>
              <a:t>What </a:t>
            </a:r>
            <a:r>
              <a:rPr lang="en-US" sz="1400" b="1" err="1">
                <a:latin typeface="+mn-lt"/>
                <a:cs typeface="Arial"/>
              </a:rPr>
              <a:t>EfficientNet</a:t>
            </a:r>
            <a:r>
              <a:rPr lang="en-US" sz="1400" b="1">
                <a:latin typeface="+mn-lt"/>
                <a:cs typeface="Arial"/>
              </a:rPr>
              <a:t> is about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Deep CNN architecture</a:t>
            </a:r>
            <a:endParaRPr lang="en-US"/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Build through </a:t>
            </a:r>
            <a:r>
              <a:rPr lang="en-US" sz="1400" b="1">
                <a:latin typeface="Arial"/>
                <a:cs typeface="Arial"/>
              </a:rPr>
              <a:t>neural architecture search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 b="1">
                <a:latin typeface="Arial"/>
                <a:cs typeface="Arial"/>
              </a:rPr>
              <a:t>Compound scaling</a:t>
            </a:r>
            <a:r>
              <a:rPr lang="en-US" sz="1400">
                <a:latin typeface="Arial"/>
                <a:cs typeface="Arial"/>
              </a:rPr>
              <a:t> for models of different sizes and performances</a:t>
            </a:r>
          </a:p>
        </p:txBody>
      </p:sp>
      <p:sp>
        <p:nvSpPr>
          <p:cNvPr id="18" name="TextBox 1">
            <a:extLst>
              <a:ext uri="{FF2B5EF4-FFF2-40B4-BE49-F238E27FC236}">
                <a16:creationId xmlns:a16="http://schemas.microsoft.com/office/drawing/2014/main" id="{8AD7BDF8-4713-CADA-DCCE-2817BF6E20EF}"/>
              </a:ext>
            </a:extLst>
          </p:cNvPr>
          <p:cNvSpPr txBox="1"/>
          <p:nvPr/>
        </p:nvSpPr>
        <p:spPr>
          <a:xfrm>
            <a:off x="749782" y="962992"/>
            <a:ext cx="4836483" cy="71622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13999"/>
              </a:lnSpc>
            </a:pPr>
            <a:r>
              <a:rPr lang="en-US" sz="1400" b="1">
                <a:latin typeface="Arial"/>
                <a:cs typeface="Arial"/>
              </a:rPr>
              <a:t>Our tools</a:t>
            </a:r>
            <a:endParaRPr lang="en-US" sz="1400" b="1"/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 b="1" err="1">
                <a:latin typeface="Arial"/>
                <a:cs typeface="Arial"/>
              </a:rPr>
              <a:t>Keras</a:t>
            </a:r>
            <a:r>
              <a:rPr lang="en-US" sz="1400" b="1">
                <a:latin typeface="Arial"/>
                <a:cs typeface="Arial"/>
              </a:rPr>
              <a:t> API</a:t>
            </a:r>
            <a:r>
              <a:rPr lang="en-US" sz="1400">
                <a:latin typeface="Arial"/>
                <a:cs typeface="Arial"/>
              </a:rPr>
              <a:t> for the past </a:t>
            </a:r>
            <a:r>
              <a:rPr lang="en-US" sz="1400" b="1">
                <a:latin typeface="Arial"/>
                <a:cs typeface="Arial"/>
              </a:rPr>
              <a:t>ILSVRC </a:t>
            </a:r>
            <a:r>
              <a:rPr lang="en-US" sz="1400">
                <a:latin typeface="Arial"/>
                <a:cs typeface="Arial"/>
              </a:rPr>
              <a:t>winners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Using latest high-scoring API: </a:t>
            </a:r>
            <a:r>
              <a:rPr lang="en-US" sz="1400" b="1">
                <a:latin typeface="Arial"/>
                <a:cs typeface="Arial"/>
              </a:rPr>
              <a:t>EfficientNetV2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4E25EBAA-BA4A-FF72-23F4-14DCABA1FC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>
                <a:latin typeface="Arial"/>
                <a:cs typeface="Arial"/>
              </a:rPr>
              <a:t>processing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de-DE" b="1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  <p:pic>
        <p:nvPicPr>
          <p:cNvPr id="6" name="Picture 8" descr="Logo&#10;&#10;Description automatically generated">
            <a:extLst>
              <a:ext uri="{FF2B5EF4-FFF2-40B4-BE49-F238E27FC236}">
                <a16:creationId xmlns:a16="http://schemas.microsoft.com/office/drawing/2014/main" id="{2822340D-F3A3-F16F-873D-A623FFF61A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4085" y="866042"/>
            <a:ext cx="2206869" cy="1661746"/>
          </a:xfrm>
          <a:prstGeom prst="rect">
            <a:avLst/>
          </a:prstGeom>
        </p:spPr>
      </p:pic>
      <p:sp>
        <p:nvSpPr>
          <p:cNvPr id="11" name="Rechteckige Legende 42">
            <a:extLst>
              <a:ext uri="{FF2B5EF4-FFF2-40B4-BE49-F238E27FC236}">
                <a16:creationId xmlns:a16="http://schemas.microsoft.com/office/drawing/2014/main" id="{4E7A402E-8A8D-6B0D-81E1-1EDB025CC261}"/>
              </a:ext>
            </a:extLst>
          </p:cNvPr>
          <p:cNvSpPr/>
          <p:nvPr/>
        </p:nvSpPr>
        <p:spPr>
          <a:xfrm>
            <a:off x="3384776" y="823762"/>
            <a:ext cx="1836277" cy="239233"/>
          </a:xfrm>
          <a:prstGeom prst="wedgeRectCallout">
            <a:avLst>
              <a:gd name="adj1" fmla="val -36699"/>
              <a:gd name="adj2" fmla="val 117027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000"/>
              <a:t>ImageNet challenge</a:t>
            </a:r>
          </a:p>
        </p:txBody>
      </p:sp>
      <p:sp>
        <p:nvSpPr>
          <p:cNvPr id="13" name="Rechteckige Legende 42">
            <a:extLst>
              <a:ext uri="{FF2B5EF4-FFF2-40B4-BE49-F238E27FC236}">
                <a16:creationId xmlns:a16="http://schemas.microsoft.com/office/drawing/2014/main" id="{B1E7750E-2CBF-966B-46FA-BE800A4BD4FF}"/>
              </a:ext>
            </a:extLst>
          </p:cNvPr>
          <p:cNvSpPr/>
          <p:nvPr/>
        </p:nvSpPr>
        <p:spPr>
          <a:xfrm>
            <a:off x="2207338" y="3210693"/>
            <a:ext cx="3067200" cy="414665"/>
          </a:xfrm>
          <a:prstGeom prst="wedgeRectCallout">
            <a:avLst>
              <a:gd name="adj1" fmla="val -39205"/>
              <a:gd name="adj2" fmla="val -94417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3999"/>
              </a:lnSpc>
            </a:pPr>
            <a:r>
              <a:rPr lang="en-US" sz="1000">
                <a:cs typeface="Arial"/>
              </a:rPr>
              <a:t>Scaling image resolution, width and depth to increase accuracy by constant factors</a:t>
            </a:r>
          </a:p>
        </p:txBody>
      </p:sp>
    </p:spTree>
    <p:extLst>
      <p:ext uri="{BB962C8B-B14F-4D97-AF65-F5344CB8AC3E}">
        <p14:creationId xmlns:p14="http://schemas.microsoft.com/office/powerpoint/2010/main" val="421340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GB"/>
              <a:t>Implementing transfer learning</a:t>
            </a:r>
            <a:endParaRPr lang="en-GB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2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40D8199-E5BE-F679-011F-DAE51FA909B5}"/>
              </a:ext>
            </a:extLst>
          </p:cNvPr>
          <p:cNvSpPr txBox="1"/>
          <p:nvPr/>
        </p:nvSpPr>
        <p:spPr>
          <a:xfrm>
            <a:off x="749782" y="2065784"/>
            <a:ext cx="6165964" cy="9618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 b="1" dirty="0">
                <a:latin typeface="+mn-lt"/>
                <a:cs typeface="Arial"/>
              </a:rPr>
              <a:t>What </a:t>
            </a:r>
            <a:r>
              <a:rPr lang="en-US" sz="1400" b="1" dirty="0" err="1">
                <a:latin typeface="+mn-lt"/>
                <a:cs typeface="Arial"/>
              </a:rPr>
              <a:t>EfficientNet</a:t>
            </a:r>
            <a:r>
              <a:rPr lang="en-US" sz="1400" b="1" dirty="0">
                <a:latin typeface="+mn-lt"/>
                <a:cs typeface="Arial"/>
              </a:rPr>
              <a:t> is about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Deep CNN architecture</a:t>
            </a:r>
            <a:endParaRPr lang="en-US" dirty="0"/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Build through </a:t>
            </a:r>
            <a:r>
              <a:rPr lang="en-US" sz="1400" b="1" dirty="0">
                <a:latin typeface="Arial"/>
                <a:cs typeface="Arial"/>
              </a:rPr>
              <a:t>neural architecture search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 b="1" dirty="0">
                <a:latin typeface="Arial"/>
                <a:cs typeface="Arial"/>
              </a:rPr>
              <a:t>Compound scaling</a:t>
            </a:r>
            <a:r>
              <a:rPr lang="en-US" sz="1400" dirty="0">
                <a:latin typeface="Arial"/>
                <a:cs typeface="Arial"/>
              </a:rPr>
              <a:t> for models of different sizes and performan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343ADE-10C2-53B9-EE3A-E75F85C12B3D}"/>
              </a:ext>
            </a:extLst>
          </p:cNvPr>
          <p:cNvSpPr txBox="1"/>
          <p:nvPr/>
        </p:nvSpPr>
        <p:spPr>
          <a:xfrm>
            <a:off x="749782" y="3369462"/>
            <a:ext cx="5173496" cy="9618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 b="1" dirty="0">
                <a:latin typeface="+mn-lt"/>
                <a:cs typeface="Arial"/>
              </a:rPr>
              <a:t>First results</a:t>
            </a:r>
            <a:endParaRPr lang="en-US" sz="1400" b="1" dirty="0"/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 b="1" dirty="0">
                <a:latin typeface="Arial"/>
                <a:cs typeface="Arial"/>
              </a:rPr>
              <a:t>Zero unfrozen layers</a:t>
            </a:r>
            <a:r>
              <a:rPr lang="en-US" sz="1400" dirty="0">
                <a:latin typeface="Arial"/>
                <a:cs typeface="Arial"/>
              </a:rPr>
              <a:t> yields 60% validation accuracy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75% by </a:t>
            </a:r>
            <a:r>
              <a:rPr lang="en-US" sz="1400" b="1" dirty="0">
                <a:latin typeface="Arial"/>
                <a:cs typeface="Arial"/>
              </a:rPr>
              <a:t>tuning top network 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80% by </a:t>
            </a:r>
            <a:r>
              <a:rPr lang="en-US" sz="1400" b="1" dirty="0">
                <a:latin typeface="Arial"/>
                <a:cs typeface="Arial"/>
              </a:rPr>
              <a:t>unfreezing 100 layers</a:t>
            </a:r>
            <a:endParaRPr lang="en-US" sz="1400" b="1" dirty="0"/>
          </a:p>
        </p:txBody>
      </p:sp>
      <p:sp>
        <p:nvSpPr>
          <p:cNvPr id="18" name="TextBox 1">
            <a:extLst>
              <a:ext uri="{FF2B5EF4-FFF2-40B4-BE49-F238E27FC236}">
                <a16:creationId xmlns:a16="http://schemas.microsoft.com/office/drawing/2014/main" id="{8AD7BDF8-4713-CADA-DCCE-2817BF6E20EF}"/>
              </a:ext>
            </a:extLst>
          </p:cNvPr>
          <p:cNvSpPr txBox="1"/>
          <p:nvPr/>
        </p:nvSpPr>
        <p:spPr>
          <a:xfrm>
            <a:off x="749782" y="962992"/>
            <a:ext cx="4836483" cy="71622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13999"/>
              </a:lnSpc>
            </a:pPr>
            <a:r>
              <a:rPr lang="en-US" sz="1400" b="1">
                <a:latin typeface="Arial"/>
                <a:cs typeface="Arial"/>
              </a:rPr>
              <a:t>Our tools</a:t>
            </a:r>
            <a:endParaRPr lang="en-US" sz="1400" b="1" dirty="0"/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 b="1" dirty="0" err="1">
                <a:latin typeface="Arial"/>
                <a:cs typeface="Arial"/>
              </a:rPr>
              <a:t>Keras</a:t>
            </a:r>
            <a:r>
              <a:rPr lang="en-US" sz="1400" b="1" dirty="0">
                <a:latin typeface="Arial"/>
                <a:cs typeface="Arial"/>
              </a:rPr>
              <a:t> API</a:t>
            </a:r>
            <a:r>
              <a:rPr lang="en-US" sz="1400" dirty="0">
                <a:latin typeface="Arial"/>
                <a:cs typeface="Arial"/>
              </a:rPr>
              <a:t> for the past </a:t>
            </a:r>
            <a:r>
              <a:rPr lang="en-US" sz="1400" b="1" dirty="0">
                <a:latin typeface="Arial"/>
                <a:cs typeface="Arial"/>
              </a:rPr>
              <a:t>ILSVRC </a:t>
            </a:r>
            <a:r>
              <a:rPr lang="en-US" sz="1400" dirty="0">
                <a:latin typeface="Arial"/>
                <a:cs typeface="Arial"/>
              </a:rPr>
              <a:t>winners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Using latest high-scoring API: </a:t>
            </a:r>
            <a:r>
              <a:rPr lang="en-US" sz="1400" b="1" dirty="0">
                <a:latin typeface="Arial"/>
                <a:cs typeface="Arial"/>
              </a:rPr>
              <a:t>EfficientNetV2</a:t>
            </a:r>
            <a:endParaRPr lang="en-US" sz="1400" b="1">
              <a:latin typeface="Arial"/>
              <a:cs typeface="Arial"/>
            </a:endParaRP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4E25EBAA-BA4A-FF72-23F4-14DCABA1FC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>
                <a:latin typeface="Arial"/>
                <a:cs typeface="Arial"/>
              </a:rPr>
              <a:t>processing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de-DE" b="1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  <p:pic>
        <p:nvPicPr>
          <p:cNvPr id="6" name="Picture 8" descr="Logo&#10;&#10;Description automatically generated">
            <a:extLst>
              <a:ext uri="{FF2B5EF4-FFF2-40B4-BE49-F238E27FC236}">
                <a16:creationId xmlns:a16="http://schemas.microsoft.com/office/drawing/2014/main" id="{2822340D-F3A3-F16F-873D-A623FFF61A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4085" y="866042"/>
            <a:ext cx="2206869" cy="1661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10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GB"/>
              <a:t>Transfer learning: Network structure</a:t>
            </a:r>
            <a:endParaRPr lang="en-GB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ige Legende 81">
            <a:extLst>
              <a:ext uri="{FF2B5EF4-FFF2-40B4-BE49-F238E27FC236}">
                <a16:creationId xmlns:a16="http://schemas.microsoft.com/office/drawing/2014/main" id="{69321EE9-F8C8-7157-A86C-A6E52EE16A5E}"/>
              </a:ext>
            </a:extLst>
          </p:cNvPr>
          <p:cNvSpPr/>
          <p:nvPr/>
        </p:nvSpPr>
        <p:spPr>
          <a:xfrm>
            <a:off x="1980246" y="3285877"/>
            <a:ext cx="1431273" cy="465064"/>
          </a:xfrm>
          <a:prstGeom prst="wedgeRectCallout">
            <a:avLst>
              <a:gd name="adj1" fmla="val 63978"/>
              <a:gd name="adj2" fmla="val -58601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3999"/>
              </a:lnSpc>
            </a:pPr>
            <a:r>
              <a:rPr lang="en-US" sz="1150"/>
              <a:t>Pretrained on different Dataset</a:t>
            </a:r>
            <a:endParaRPr lang="en-US"/>
          </a:p>
        </p:txBody>
      </p:sp>
      <p:sp>
        <p:nvSpPr>
          <p:cNvPr id="16" name="Rechteckige Legende 81">
            <a:extLst>
              <a:ext uri="{FF2B5EF4-FFF2-40B4-BE49-F238E27FC236}">
                <a16:creationId xmlns:a16="http://schemas.microsoft.com/office/drawing/2014/main" id="{4D0E4E5E-0833-65BB-F835-88BB6D3629A1}"/>
              </a:ext>
            </a:extLst>
          </p:cNvPr>
          <p:cNvSpPr/>
          <p:nvPr/>
        </p:nvSpPr>
        <p:spPr>
          <a:xfrm>
            <a:off x="2293664" y="2315759"/>
            <a:ext cx="1157430" cy="263342"/>
          </a:xfrm>
          <a:prstGeom prst="wedgeRectCallout">
            <a:avLst>
              <a:gd name="adj1" fmla="val 63978"/>
              <a:gd name="adj2" fmla="val -58601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3999"/>
              </a:lnSpc>
            </a:pPr>
            <a:r>
              <a:rPr lang="en-US" sz="1150"/>
              <a:t>Added Layers</a:t>
            </a:r>
            <a:endParaRPr lang="en-US"/>
          </a:p>
        </p:txBody>
      </p:sp>
      <p:sp>
        <p:nvSpPr>
          <p:cNvPr id="17" name="Rechteckige Legende 81">
            <a:extLst>
              <a:ext uri="{FF2B5EF4-FFF2-40B4-BE49-F238E27FC236}">
                <a16:creationId xmlns:a16="http://schemas.microsoft.com/office/drawing/2014/main" id="{1282DD8C-AC52-76F0-6CD8-44C6E7DA3C27}"/>
              </a:ext>
            </a:extLst>
          </p:cNvPr>
          <p:cNvSpPr/>
          <p:nvPr/>
        </p:nvSpPr>
        <p:spPr>
          <a:xfrm>
            <a:off x="2090379" y="1342805"/>
            <a:ext cx="1389602" cy="465064"/>
          </a:xfrm>
          <a:prstGeom prst="wedgeRectCallout">
            <a:avLst>
              <a:gd name="adj1" fmla="val 63978"/>
              <a:gd name="adj2" fmla="val -58601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3999"/>
              </a:lnSpc>
            </a:pPr>
            <a:r>
              <a:rPr lang="en-US" sz="1150"/>
              <a:t>Train on given Dataset</a:t>
            </a:r>
            <a:endParaRPr lang="en-US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9FF1685C-8EED-70A2-A8EC-BDFF46D1BB0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>
                <a:latin typeface="Arial"/>
                <a:cs typeface="Arial"/>
              </a:rPr>
              <a:t>processing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de-DE" b="1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3F79717-5889-D54B-3899-FD63C20B20FA}"/>
              </a:ext>
            </a:extLst>
          </p:cNvPr>
          <p:cNvGrpSpPr/>
          <p:nvPr/>
        </p:nvGrpSpPr>
        <p:grpSpPr>
          <a:xfrm>
            <a:off x="3855984" y="3624090"/>
            <a:ext cx="948005" cy="976936"/>
            <a:chOff x="3448016" y="3755785"/>
            <a:chExt cx="742537" cy="778767"/>
          </a:xfrm>
        </p:grpSpPr>
        <p:sp>
          <p:nvSpPr>
            <p:cNvPr id="18" name="Rechteck 16">
              <a:extLst>
                <a:ext uri="{FF2B5EF4-FFF2-40B4-BE49-F238E27FC236}">
                  <a16:creationId xmlns:a16="http://schemas.microsoft.com/office/drawing/2014/main" id="{9E015109-0E01-2C0A-98A3-B1352C433953}"/>
                </a:ext>
              </a:extLst>
            </p:cNvPr>
            <p:cNvSpPr/>
            <p:nvPr/>
          </p:nvSpPr>
          <p:spPr>
            <a:xfrm>
              <a:off x="3448016" y="3958170"/>
              <a:ext cx="742537" cy="408127"/>
            </a:xfrm>
            <a:prstGeom prst="rect">
              <a:avLst/>
            </a:prstGeom>
            <a:noFill/>
            <a:ln w="28067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1041" tIns="50521" rIns="101041" bIns="505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  <p:pic>
          <p:nvPicPr>
            <p:cNvPr id="19" name="Grafik 18" descr="Cabriolet mit einfarbiger Füllung">
              <a:extLst>
                <a:ext uri="{FF2B5EF4-FFF2-40B4-BE49-F238E27FC236}">
                  <a16:creationId xmlns:a16="http://schemas.microsoft.com/office/drawing/2014/main" id="{C4242FE9-2B4C-FF64-9DEF-FA60B630A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48018" y="3755785"/>
              <a:ext cx="742535" cy="778767"/>
            </a:xfrm>
            <a:prstGeom prst="rect">
              <a:avLst/>
            </a:prstGeom>
          </p:spPr>
        </p:pic>
      </p:grpSp>
      <p:sp>
        <p:nvSpPr>
          <p:cNvPr id="20" name="Rechteck 30">
            <a:extLst>
              <a:ext uri="{FF2B5EF4-FFF2-40B4-BE49-F238E27FC236}">
                <a16:creationId xmlns:a16="http://schemas.microsoft.com/office/drawing/2014/main" id="{3B94D6C2-8500-7D0D-C1BD-FEA5A4790724}"/>
              </a:ext>
            </a:extLst>
          </p:cNvPr>
          <p:cNvSpPr/>
          <p:nvPr/>
        </p:nvSpPr>
        <p:spPr>
          <a:xfrm>
            <a:off x="3855984" y="2963616"/>
            <a:ext cx="948004" cy="51198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150"/>
              <a:t>Baseline model</a:t>
            </a:r>
          </a:p>
        </p:txBody>
      </p:sp>
      <p:sp>
        <p:nvSpPr>
          <p:cNvPr id="21" name="Rechteck 30">
            <a:extLst>
              <a:ext uri="{FF2B5EF4-FFF2-40B4-BE49-F238E27FC236}">
                <a16:creationId xmlns:a16="http://schemas.microsoft.com/office/drawing/2014/main" id="{23C83A97-67BC-A770-C786-617867BDC535}"/>
              </a:ext>
            </a:extLst>
          </p:cNvPr>
          <p:cNvSpPr/>
          <p:nvPr/>
        </p:nvSpPr>
        <p:spPr>
          <a:xfrm>
            <a:off x="3855984" y="2059769"/>
            <a:ext cx="948004" cy="51198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150"/>
              <a:t>Top network</a:t>
            </a:r>
          </a:p>
        </p:txBody>
      </p:sp>
      <p:sp>
        <p:nvSpPr>
          <p:cNvPr id="22" name="Rechteck 30">
            <a:extLst>
              <a:ext uri="{FF2B5EF4-FFF2-40B4-BE49-F238E27FC236}">
                <a16:creationId xmlns:a16="http://schemas.microsoft.com/office/drawing/2014/main" id="{DDB3C35F-F01D-3EFC-E610-4FC269514016}"/>
              </a:ext>
            </a:extLst>
          </p:cNvPr>
          <p:cNvSpPr/>
          <p:nvPr/>
        </p:nvSpPr>
        <p:spPr>
          <a:xfrm>
            <a:off x="3855984" y="1049663"/>
            <a:ext cx="948004" cy="5119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150">
                <a:solidFill>
                  <a:schemeClr val="tx1"/>
                </a:solidFill>
              </a:rPr>
              <a:t>E</a:t>
            </a:r>
            <a:r>
              <a:rPr lang="en-US" sz="1150">
                <a:solidFill>
                  <a:schemeClr val="tx1"/>
                </a:solidFill>
              </a:rPr>
              <a:t>valuation</a:t>
            </a:r>
          </a:p>
        </p:txBody>
      </p:sp>
      <p:cxnSp>
        <p:nvCxnSpPr>
          <p:cNvPr id="24" name="Gerade Verbindung mit Pfeil 75">
            <a:extLst>
              <a:ext uri="{FF2B5EF4-FFF2-40B4-BE49-F238E27FC236}">
                <a16:creationId xmlns:a16="http://schemas.microsoft.com/office/drawing/2014/main" id="{35A15401-DB1D-D48C-24C1-FB4B3437B5F6}"/>
              </a:ext>
            </a:extLst>
          </p:cNvPr>
          <p:cNvCxnSpPr>
            <a:cxnSpLocks/>
          </p:cNvCxnSpPr>
          <p:nvPr/>
        </p:nvCxnSpPr>
        <p:spPr>
          <a:xfrm flipV="1">
            <a:off x="4329986" y="3520860"/>
            <a:ext cx="0" cy="229786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75">
            <a:extLst>
              <a:ext uri="{FF2B5EF4-FFF2-40B4-BE49-F238E27FC236}">
                <a16:creationId xmlns:a16="http://schemas.microsoft.com/office/drawing/2014/main" id="{0C217FB6-2F1C-B39E-A732-F244054F730A}"/>
              </a:ext>
            </a:extLst>
          </p:cNvPr>
          <p:cNvCxnSpPr>
            <a:cxnSpLocks/>
          </p:cNvCxnSpPr>
          <p:nvPr/>
        </p:nvCxnSpPr>
        <p:spPr>
          <a:xfrm flipV="1">
            <a:off x="4329986" y="1711921"/>
            <a:ext cx="0" cy="229786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lus Sign 25">
            <a:extLst>
              <a:ext uri="{FF2B5EF4-FFF2-40B4-BE49-F238E27FC236}">
                <a16:creationId xmlns:a16="http://schemas.microsoft.com/office/drawing/2014/main" id="{BE39DC2D-6C7A-1561-1AFE-C193D488CC29}"/>
              </a:ext>
            </a:extLst>
          </p:cNvPr>
          <p:cNvSpPr/>
          <p:nvPr/>
        </p:nvSpPr>
        <p:spPr>
          <a:xfrm>
            <a:off x="4224375" y="2669281"/>
            <a:ext cx="211222" cy="211222"/>
          </a:xfrm>
          <a:prstGeom prst="mathPlus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cxnSp>
        <p:nvCxnSpPr>
          <p:cNvPr id="31" name="Gerade Verbindung mit Pfeil 75">
            <a:extLst>
              <a:ext uri="{FF2B5EF4-FFF2-40B4-BE49-F238E27FC236}">
                <a16:creationId xmlns:a16="http://schemas.microsoft.com/office/drawing/2014/main" id="{1363B420-689C-5497-8115-5C9C0D2ABCBA}"/>
              </a:ext>
            </a:extLst>
          </p:cNvPr>
          <p:cNvCxnSpPr>
            <a:cxnSpLocks/>
          </p:cNvCxnSpPr>
          <p:nvPr/>
        </p:nvCxnSpPr>
        <p:spPr>
          <a:xfrm>
            <a:off x="5026241" y="1259438"/>
            <a:ext cx="1948892" cy="0"/>
          </a:xfrm>
          <a:prstGeom prst="straightConnector1">
            <a:avLst/>
          </a:prstGeom>
          <a:ln w="25400" cmpd="sng"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75">
            <a:extLst>
              <a:ext uri="{FF2B5EF4-FFF2-40B4-BE49-F238E27FC236}">
                <a16:creationId xmlns:a16="http://schemas.microsoft.com/office/drawing/2014/main" id="{712BEDE4-0E03-DE11-52B3-AD0A2B314CEC}"/>
              </a:ext>
            </a:extLst>
          </p:cNvPr>
          <p:cNvCxnSpPr>
            <a:cxnSpLocks/>
          </p:cNvCxnSpPr>
          <p:nvPr/>
        </p:nvCxnSpPr>
        <p:spPr>
          <a:xfrm>
            <a:off x="5736852" y="1259965"/>
            <a:ext cx="1133" cy="187541"/>
          </a:xfrm>
          <a:prstGeom prst="straightConnector1">
            <a:avLst/>
          </a:prstGeom>
          <a:ln w="25400" cmpd="sng"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75">
            <a:extLst>
              <a:ext uri="{FF2B5EF4-FFF2-40B4-BE49-F238E27FC236}">
                <a16:creationId xmlns:a16="http://schemas.microsoft.com/office/drawing/2014/main" id="{9F0241B3-22D0-BE0D-5619-20A3D96E0565}"/>
              </a:ext>
            </a:extLst>
          </p:cNvPr>
          <p:cNvCxnSpPr>
            <a:cxnSpLocks/>
          </p:cNvCxnSpPr>
          <p:nvPr/>
        </p:nvCxnSpPr>
        <p:spPr>
          <a:xfrm>
            <a:off x="5736852" y="1644878"/>
            <a:ext cx="0" cy="176008"/>
          </a:xfrm>
          <a:prstGeom prst="straightConnector1">
            <a:avLst/>
          </a:prstGeom>
          <a:ln w="25400" cmpd="sng"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9">
            <a:extLst>
              <a:ext uri="{FF2B5EF4-FFF2-40B4-BE49-F238E27FC236}">
                <a16:creationId xmlns:a16="http://schemas.microsoft.com/office/drawing/2014/main" id="{AA328555-6D77-8CA0-F50E-BDE6A3A4C426}"/>
              </a:ext>
            </a:extLst>
          </p:cNvPr>
          <p:cNvSpPr txBox="1"/>
          <p:nvPr/>
        </p:nvSpPr>
        <p:spPr>
          <a:xfrm>
            <a:off x="5409525" y="1451881"/>
            <a:ext cx="654651" cy="1769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100" b="1">
                <a:latin typeface="Arial"/>
                <a:cs typeface="Arial"/>
              </a:rPr>
              <a:t>First loop</a:t>
            </a:r>
            <a:endParaRPr lang="de-DE" sz="1100" b="1"/>
          </a:p>
        </p:txBody>
      </p:sp>
      <p:sp>
        <p:nvSpPr>
          <p:cNvPr id="45" name="Textfeld 9">
            <a:extLst>
              <a:ext uri="{FF2B5EF4-FFF2-40B4-BE49-F238E27FC236}">
                <a16:creationId xmlns:a16="http://schemas.microsoft.com/office/drawing/2014/main" id="{6A869A0D-1B0E-1BD5-7CDA-CF0B923F7CE5}"/>
              </a:ext>
            </a:extLst>
          </p:cNvPr>
          <p:cNvSpPr txBox="1"/>
          <p:nvPr/>
        </p:nvSpPr>
        <p:spPr>
          <a:xfrm>
            <a:off x="6541177" y="1472004"/>
            <a:ext cx="905057" cy="1769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100" b="1">
                <a:latin typeface="Arial"/>
                <a:cs typeface="Arial"/>
              </a:rPr>
              <a:t>Second loop</a:t>
            </a:r>
            <a:endParaRPr lang="de-DE" sz="1100" b="1"/>
          </a:p>
        </p:txBody>
      </p:sp>
      <p:sp>
        <p:nvSpPr>
          <p:cNvPr id="49" name="Textfeld 9">
            <a:extLst>
              <a:ext uri="{FF2B5EF4-FFF2-40B4-BE49-F238E27FC236}">
                <a16:creationId xmlns:a16="http://schemas.microsoft.com/office/drawing/2014/main" id="{2F61F827-E3B4-6008-B255-022179F93E35}"/>
              </a:ext>
            </a:extLst>
          </p:cNvPr>
          <p:cNvSpPr txBox="1"/>
          <p:nvPr/>
        </p:nvSpPr>
        <p:spPr>
          <a:xfrm>
            <a:off x="5262847" y="1824944"/>
            <a:ext cx="1064421" cy="1769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100" b="1">
                <a:latin typeface="Arial"/>
                <a:cs typeface="Arial"/>
              </a:rPr>
              <a:t>Design network</a:t>
            </a:r>
            <a:endParaRPr lang="de-DE" sz="1100" b="1"/>
          </a:p>
        </p:txBody>
      </p:sp>
      <p:cxnSp>
        <p:nvCxnSpPr>
          <p:cNvPr id="55" name="Gerade Verbindung mit Pfeil 75">
            <a:extLst>
              <a:ext uri="{FF2B5EF4-FFF2-40B4-BE49-F238E27FC236}">
                <a16:creationId xmlns:a16="http://schemas.microsoft.com/office/drawing/2014/main" id="{BFA38D67-AD33-4A62-D86D-F3CB7357A001}"/>
              </a:ext>
            </a:extLst>
          </p:cNvPr>
          <p:cNvCxnSpPr>
            <a:cxnSpLocks/>
          </p:cNvCxnSpPr>
          <p:nvPr/>
        </p:nvCxnSpPr>
        <p:spPr>
          <a:xfrm>
            <a:off x="6963991" y="1249035"/>
            <a:ext cx="1133" cy="187541"/>
          </a:xfrm>
          <a:prstGeom prst="straightConnector1">
            <a:avLst/>
          </a:prstGeom>
          <a:ln w="25400" cmpd="sng"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75">
            <a:extLst>
              <a:ext uri="{FF2B5EF4-FFF2-40B4-BE49-F238E27FC236}">
                <a16:creationId xmlns:a16="http://schemas.microsoft.com/office/drawing/2014/main" id="{CEFCAB20-B4A0-6DF1-D1B2-FDE5FC1C89E1}"/>
              </a:ext>
            </a:extLst>
          </p:cNvPr>
          <p:cNvCxnSpPr>
            <a:cxnSpLocks/>
          </p:cNvCxnSpPr>
          <p:nvPr/>
        </p:nvCxnSpPr>
        <p:spPr>
          <a:xfrm>
            <a:off x="4936528" y="2255520"/>
            <a:ext cx="800324" cy="0"/>
          </a:xfrm>
          <a:prstGeom prst="straightConnector1">
            <a:avLst/>
          </a:prstGeom>
          <a:ln w="25400" cmpd="sng">
            <a:headEnd type="triangl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75">
            <a:extLst>
              <a:ext uri="{FF2B5EF4-FFF2-40B4-BE49-F238E27FC236}">
                <a16:creationId xmlns:a16="http://schemas.microsoft.com/office/drawing/2014/main" id="{573C68FF-FC32-E25C-50DB-F1657C0BB60E}"/>
              </a:ext>
            </a:extLst>
          </p:cNvPr>
          <p:cNvCxnSpPr>
            <a:cxnSpLocks/>
          </p:cNvCxnSpPr>
          <p:nvPr/>
        </p:nvCxnSpPr>
        <p:spPr>
          <a:xfrm>
            <a:off x="5727918" y="2053590"/>
            <a:ext cx="0" cy="207351"/>
          </a:xfrm>
          <a:prstGeom prst="straightConnector1">
            <a:avLst/>
          </a:prstGeom>
          <a:ln w="25400" cmpd="sng"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75">
            <a:extLst>
              <a:ext uri="{FF2B5EF4-FFF2-40B4-BE49-F238E27FC236}">
                <a16:creationId xmlns:a16="http://schemas.microsoft.com/office/drawing/2014/main" id="{FFD93C4D-982A-4F02-0491-361D25A5A03A}"/>
              </a:ext>
            </a:extLst>
          </p:cNvPr>
          <p:cNvCxnSpPr>
            <a:cxnSpLocks/>
          </p:cNvCxnSpPr>
          <p:nvPr/>
        </p:nvCxnSpPr>
        <p:spPr>
          <a:xfrm>
            <a:off x="4964229" y="2455545"/>
            <a:ext cx="2003546" cy="0"/>
          </a:xfrm>
          <a:prstGeom prst="straightConnector1">
            <a:avLst/>
          </a:prstGeom>
          <a:ln w="25400" cmpd="sng">
            <a:headEnd type="triangl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feld 9">
            <a:extLst>
              <a:ext uri="{FF2B5EF4-FFF2-40B4-BE49-F238E27FC236}">
                <a16:creationId xmlns:a16="http://schemas.microsoft.com/office/drawing/2014/main" id="{E6B60CFF-00C5-F439-5ABA-BCEDDFEC4E46}"/>
              </a:ext>
            </a:extLst>
          </p:cNvPr>
          <p:cNvSpPr txBox="1"/>
          <p:nvPr/>
        </p:nvSpPr>
        <p:spPr>
          <a:xfrm>
            <a:off x="6520898" y="2087726"/>
            <a:ext cx="948005" cy="1769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100" b="1">
                <a:latin typeface="Arial"/>
                <a:cs typeface="Arial"/>
              </a:rPr>
              <a:t>Train network</a:t>
            </a:r>
            <a:endParaRPr lang="de-DE" sz="1100" b="1"/>
          </a:p>
        </p:txBody>
      </p:sp>
      <p:cxnSp>
        <p:nvCxnSpPr>
          <p:cNvPr id="73" name="Gerade Verbindung mit Pfeil 75">
            <a:extLst>
              <a:ext uri="{FF2B5EF4-FFF2-40B4-BE49-F238E27FC236}">
                <a16:creationId xmlns:a16="http://schemas.microsoft.com/office/drawing/2014/main" id="{8DCA7DF8-323B-D5EB-6C29-5632D0B9F4D5}"/>
              </a:ext>
            </a:extLst>
          </p:cNvPr>
          <p:cNvCxnSpPr>
            <a:cxnSpLocks/>
          </p:cNvCxnSpPr>
          <p:nvPr/>
        </p:nvCxnSpPr>
        <p:spPr>
          <a:xfrm>
            <a:off x="6958789" y="2254679"/>
            <a:ext cx="9831" cy="972254"/>
          </a:xfrm>
          <a:prstGeom prst="straightConnector1">
            <a:avLst/>
          </a:prstGeom>
          <a:ln w="25400" cmpd="sng"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5">
            <a:extLst>
              <a:ext uri="{FF2B5EF4-FFF2-40B4-BE49-F238E27FC236}">
                <a16:creationId xmlns:a16="http://schemas.microsoft.com/office/drawing/2014/main" id="{A7A74DB4-FF8C-0506-60BC-FE07FAC5E2BC}"/>
              </a:ext>
            </a:extLst>
          </p:cNvPr>
          <p:cNvCxnSpPr>
            <a:cxnSpLocks/>
          </p:cNvCxnSpPr>
          <p:nvPr/>
        </p:nvCxnSpPr>
        <p:spPr>
          <a:xfrm rot="16200000">
            <a:off x="6887129" y="2367541"/>
            <a:ext cx="0" cy="176008"/>
          </a:xfrm>
          <a:prstGeom prst="straightConnector1">
            <a:avLst/>
          </a:prstGeom>
          <a:ln w="25400" cmpd="sng"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5">
            <a:extLst>
              <a:ext uri="{FF2B5EF4-FFF2-40B4-BE49-F238E27FC236}">
                <a16:creationId xmlns:a16="http://schemas.microsoft.com/office/drawing/2014/main" id="{35A1798A-EE6B-49F9-9E61-F462EAEE7BFA}"/>
              </a:ext>
            </a:extLst>
          </p:cNvPr>
          <p:cNvCxnSpPr>
            <a:cxnSpLocks/>
          </p:cNvCxnSpPr>
          <p:nvPr/>
        </p:nvCxnSpPr>
        <p:spPr>
          <a:xfrm>
            <a:off x="4897584" y="3217226"/>
            <a:ext cx="809258" cy="0"/>
          </a:xfrm>
          <a:prstGeom prst="straightConnector1">
            <a:avLst/>
          </a:prstGeom>
          <a:ln w="25400" cmpd="sng">
            <a:headEnd type="triangl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75">
            <a:extLst>
              <a:ext uri="{FF2B5EF4-FFF2-40B4-BE49-F238E27FC236}">
                <a16:creationId xmlns:a16="http://schemas.microsoft.com/office/drawing/2014/main" id="{010E5AB8-B4C1-D3C7-D0ED-01DD7C9C9FF4}"/>
              </a:ext>
            </a:extLst>
          </p:cNvPr>
          <p:cNvCxnSpPr>
            <a:cxnSpLocks/>
          </p:cNvCxnSpPr>
          <p:nvPr/>
        </p:nvCxnSpPr>
        <p:spPr>
          <a:xfrm rot="16200000">
            <a:off x="6896653" y="3129222"/>
            <a:ext cx="0" cy="176008"/>
          </a:xfrm>
          <a:prstGeom prst="straightConnector1">
            <a:avLst/>
          </a:prstGeom>
          <a:ln w="25400" cmpd="sng"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9">
            <a:extLst>
              <a:ext uri="{FF2B5EF4-FFF2-40B4-BE49-F238E27FC236}">
                <a16:creationId xmlns:a16="http://schemas.microsoft.com/office/drawing/2014/main" id="{94E888D8-E1D7-CF3A-524F-3A9BC16D0D85}"/>
              </a:ext>
            </a:extLst>
          </p:cNvPr>
          <p:cNvSpPr txBox="1"/>
          <p:nvPr/>
        </p:nvSpPr>
        <p:spPr>
          <a:xfrm>
            <a:off x="5800438" y="3001051"/>
            <a:ext cx="948005" cy="36990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3999"/>
              </a:lnSpc>
            </a:pPr>
            <a:r>
              <a:rPr lang="en-US" sz="1100" b="1">
                <a:latin typeface="Arial"/>
                <a:cs typeface="Arial"/>
              </a:rPr>
              <a:t>Unfreeze layers</a:t>
            </a:r>
            <a:endParaRPr lang="en-US" sz="1100" b="1"/>
          </a:p>
        </p:txBody>
      </p:sp>
      <p:cxnSp>
        <p:nvCxnSpPr>
          <p:cNvPr id="15" name="Gerade Verbindung mit Pfeil 75">
            <a:extLst>
              <a:ext uri="{FF2B5EF4-FFF2-40B4-BE49-F238E27FC236}">
                <a16:creationId xmlns:a16="http://schemas.microsoft.com/office/drawing/2014/main" id="{FC22280E-91DF-CF74-BDE0-B640CBC1C437}"/>
              </a:ext>
            </a:extLst>
          </p:cNvPr>
          <p:cNvCxnSpPr>
            <a:cxnSpLocks/>
          </p:cNvCxnSpPr>
          <p:nvPr/>
        </p:nvCxnSpPr>
        <p:spPr>
          <a:xfrm>
            <a:off x="6962149" y="1670607"/>
            <a:ext cx="2504" cy="393428"/>
          </a:xfrm>
          <a:prstGeom prst="straightConnector1">
            <a:avLst/>
          </a:prstGeom>
          <a:ln w="25400" cmpd="sng"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5440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E2F0FC4-5793-3C5E-92AB-4908E8755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/>
          <a:lstStyle/>
          <a:p>
            <a:r>
              <a:rPr lang="en-US"/>
              <a:t>Challenge &amp; targets for transfer learn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589FAC-81A6-9C26-F027-79E380545E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982EE4D6-1C93-5AA5-9FB2-D01DC212355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>
                <a:latin typeface="Arial"/>
                <a:cs typeface="Arial"/>
              </a:rPr>
              <a:t>processing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de-DE" b="1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9C9ECFF-B1BB-8035-16E8-22431841D643}"/>
              </a:ext>
            </a:extLst>
          </p:cNvPr>
          <p:cNvSpPr txBox="1"/>
          <p:nvPr/>
        </p:nvSpPr>
        <p:spPr>
          <a:xfrm>
            <a:off x="1673211" y="2440812"/>
            <a:ext cx="5990212" cy="7162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 b="1">
                <a:latin typeface="+mn-lt"/>
                <a:cs typeface="Arial"/>
              </a:rPr>
              <a:t>Open questions for the baseline model</a:t>
            </a:r>
          </a:p>
          <a:p>
            <a:pPr marL="628650" lvl="1" indent="-1714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Understanding the benefit of the ImageNet domain</a:t>
            </a:r>
            <a:endParaRPr lang="en-US" sz="1400"/>
          </a:p>
          <a:p>
            <a:pPr marL="628650" lvl="1" indent="-1714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Interpreting the network accuracy correctly</a:t>
            </a:r>
            <a:endParaRPr lang="en-US" sz="1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7E85F1D-5389-109A-4376-53595E90AF8E}"/>
              </a:ext>
            </a:extLst>
          </p:cNvPr>
          <p:cNvSpPr txBox="1"/>
          <p:nvPr/>
        </p:nvSpPr>
        <p:spPr>
          <a:xfrm>
            <a:off x="1671207" y="3555628"/>
            <a:ext cx="5335400" cy="4706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 b="1">
                <a:latin typeface="Arial"/>
                <a:cs typeface="Arial"/>
              </a:rPr>
              <a:t>Finetuning the model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Running Hyperparameter search with  better hardware</a:t>
            </a:r>
            <a:endParaRPr lang="en-US" sz="140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D886BF2-1E31-0638-01CB-68847765685F}"/>
              </a:ext>
            </a:extLst>
          </p:cNvPr>
          <p:cNvSpPr txBox="1"/>
          <p:nvPr/>
        </p:nvSpPr>
        <p:spPr>
          <a:xfrm>
            <a:off x="1673211" y="1356133"/>
            <a:ext cx="7153797" cy="686085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400" b="1">
                <a:latin typeface="+mn-lt"/>
                <a:cs typeface="Arial"/>
              </a:rPr>
              <a:t>Selecting the correct model</a:t>
            </a:r>
          </a:p>
          <a:p>
            <a:pPr marL="742950" lvl="1" indent="-285750">
              <a:lnSpc>
                <a:spcPct val="113999"/>
              </a:lnSpc>
              <a:buFont typeface="Arial,Sans-Serif"/>
              <a:buChar char="•"/>
            </a:pPr>
            <a:r>
              <a:rPr lang="en-US" sz="1400">
                <a:cs typeface="Arial"/>
              </a:rPr>
              <a:t>Selecting from a variety of models &amp; </a:t>
            </a:r>
            <a:r>
              <a:rPr lang="en-US" sz="1400">
                <a:latin typeface="+mn-lt"/>
                <a:cs typeface="Arial"/>
              </a:rPr>
              <a:t>Tuning hyperparameters</a:t>
            </a:r>
          </a:p>
          <a:p>
            <a:pPr marL="742950" lvl="1" indent="-285750">
              <a:lnSpc>
                <a:spcPct val="113999"/>
              </a:lnSpc>
              <a:buFont typeface="Arial,Sans-Serif"/>
              <a:buChar char="•"/>
            </a:pPr>
            <a:r>
              <a:rPr lang="en-US" sz="1400">
                <a:latin typeface="+mn-lt"/>
                <a:cs typeface="Arial"/>
              </a:rPr>
              <a:t>Understanding the influence of compound scaling</a:t>
            </a:r>
            <a:endParaRPr lang="de-DE"/>
          </a:p>
        </p:txBody>
      </p:sp>
      <p:grpSp>
        <p:nvGrpSpPr>
          <p:cNvPr id="13" name="bcgIcons_Simplicity">
            <a:extLst>
              <a:ext uri="{FF2B5EF4-FFF2-40B4-BE49-F238E27FC236}">
                <a16:creationId xmlns:a16="http://schemas.microsoft.com/office/drawing/2014/main" id="{28DE8BF9-2B99-CB2A-9288-9BFD791659F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6385" y="1339176"/>
            <a:ext cx="719333" cy="720000"/>
            <a:chOff x="1682" y="0"/>
            <a:chExt cx="4316" cy="4320"/>
          </a:xfrm>
        </p:grpSpPr>
        <p:sp>
          <p:nvSpPr>
            <p:cNvPr id="10" name="AutoShape 23">
              <a:extLst>
                <a:ext uri="{FF2B5EF4-FFF2-40B4-BE49-F238E27FC236}">
                  <a16:creationId xmlns:a16="http://schemas.microsoft.com/office/drawing/2014/main" id="{17686264-3E8B-3A0F-9CAB-F3AB3C84D0E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5">
              <a:extLst>
                <a:ext uri="{FF2B5EF4-FFF2-40B4-BE49-F238E27FC236}">
                  <a16:creationId xmlns:a16="http://schemas.microsoft.com/office/drawing/2014/main" id="{5DDBF905-D698-7E55-FE0F-DB343CE5F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1" y="351"/>
              <a:ext cx="3178" cy="3615"/>
            </a:xfrm>
            <a:custGeom>
              <a:avLst/>
              <a:gdLst>
                <a:gd name="T0" fmla="*/ 1693 w 1696"/>
                <a:gd name="T1" fmla="*/ 1152 h 1928"/>
                <a:gd name="T2" fmla="*/ 1394 w 1696"/>
                <a:gd name="T3" fmla="*/ 1637 h 1928"/>
                <a:gd name="T4" fmla="*/ 865 w 1696"/>
                <a:gd name="T5" fmla="*/ 1831 h 1928"/>
                <a:gd name="T6" fmla="*/ 924 w 1696"/>
                <a:gd name="T7" fmla="*/ 1891 h 1928"/>
                <a:gd name="T8" fmla="*/ 923 w 1696"/>
                <a:gd name="T9" fmla="*/ 1922 h 1928"/>
                <a:gd name="T10" fmla="*/ 908 w 1696"/>
                <a:gd name="T11" fmla="*/ 1928 h 1928"/>
                <a:gd name="T12" fmla="*/ 892 w 1696"/>
                <a:gd name="T13" fmla="*/ 1922 h 1928"/>
                <a:gd name="T14" fmla="*/ 796 w 1696"/>
                <a:gd name="T15" fmla="*/ 1823 h 1928"/>
                <a:gd name="T16" fmla="*/ 796 w 1696"/>
                <a:gd name="T17" fmla="*/ 1791 h 1928"/>
                <a:gd name="T18" fmla="*/ 895 w 1696"/>
                <a:gd name="T19" fmla="*/ 1695 h 1928"/>
                <a:gd name="T20" fmla="*/ 926 w 1696"/>
                <a:gd name="T21" fmla="*/ 1695 h 1928"/>
                <a:gd name="T22" fmla="*/ 926 w 1696"/>
                <a:gd name="T23" fmla="*/ 1726 h 1928"/>
                <a:gd name="T24" fmla="*/ 864 w 1696"/>
                <a:gd name="T25" fmla="*/ 1787 h 1928"/>
                <a:gd name="T26" fmla="*/ 1650 w 1696"/>
                <a:gd name="T27" fmla="*/ 1143 h 1928"/>
                <a:gd name="T28" fmla="*/ 1677 w 1696"/>
                <a:gd name="T29" fmla="*/ 1126 h 1928"/>
                <a:gd name="T30" fmla="*/ 1693 w 1696"/>
                <a:gd name="T31" fmla="*/ 1152 h 1928"/>
                <a:gd name="T32" fmla="*/ 900 w 1696"/>
                <a:gd name="T33" fmla="*/ 107 h 1928"/>
                <a:gd name="T34" fmla="*/ 804 w 1696"/>
                <a:gd name="T35" fmla="*/ 8 h 1928"/>
                <a:gd name="T36" fmla="*/ 773 w 1696"/>
                <a:gd name="T37" fmla="*/ 8 h 1928"/>
                <a:gd name="T38" fmla="*/ 772 w 1696"/>
                <a:gd name="T39" fmla="*/ 39 h 1928"/>
                <a:gd name="T40" fmla="*/ 831 w 1696"/>
                <a:gd name="T41" fmla="*/ 99 h 1928"/>
                <a:gd name="T42" fmla="*/ 302 w 1696"/>
                <a:gd name="T43" fmla="*/ 293 h 1928"/>
                <a:gd name="T44" fmla="*/ 3 w 1696"/>
                <a:gd name="T45" fmla="*/ 778 h 1928"/>
                <a:gd name="T46" fmla="*/ 19 w 1696"/>
                <a:gd name="T47" fmla="*/ 804 h 1928"/>
                <a:gd name="T48" fmla="*/ 24 w 1696"/>
                <a:gd name="T49" fmla="*/ 804 h 1928"/>
                <a:gd name="T50" fmla="*/ 46 w 1696"/>
                <a:gd name="T51" fmla="*/ 787 h 1928"/>
                <a:gd name="T52" fmla="*/ 832 w 1696"/>
                <a:gd name="T53" fmla="*/ 143 h 1928"/>
                <a:gd name="T54" fmla="*/ 770 w 1696"/>
                <a:gd name="T55" fmla="*/ 204 h 1928"/>
                <a:gd name="T56" fmla="*/ 770 w 1696"/>
                <a:gd name="T57" fmla="*/ 235 h 1928"/>
                <a:gd name="T58" fmla="*/ 786 w 1696"/>
                <a:gd name="T59" fmla="*/ 241 h 1928"/>
                <a:gd name="T60" fmla="*/ 801 w 1696"/>
                <a:gd name="T61" fmla="*/ 235 h 1928"/>
                <a:gd name="T62" fmla="*/ 900 w 1696"/>
                <a:gd name="T63" fmla="*/ 139 h 1928"/>
                <a:gd name="T64" fmla="*/ 900 w 1696"/>
                <a:gd name="T65" fmla="*/ 107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96" h="1928">
                  <a:moveTo>
                    <a:pt x="1693" y="1152"/>
                  </a:moveTo>
                  <a:cubicBezTo>
                    <a:pt x="1652" y="1342"/>
                    <a:pt x="1545" y="1514"/>
                    <a:pt x="1394" y="1637"/>
                  </a:cubicBezTo>
                  <a:cubicBezTo>
                    <a:pt x="1245" y="1759"/>
                    <a:pt x="1057" y="1827"/>
                    <a:pt x="865" y="1831"/>
                  </a:cubicBezTo>
                  <a:cubicBezTo>
                    <a:pt x="924" y="1891"/>
                    <a:pt x="924" y="1891"/>
                    <a:pt x="924" y="1891"/>
                  </a:cubicBezTo>
                  <a:cubicBezTo>
                    <a:pt x="932" y="1900"/>
                    <a:pt x="932" y="1914"/>
                    <a:pt x="923" y="1922"/>
                  </a:cubicBezTo>
                  <a:cubicBezTo>
                    <a:pt x="919" y="1926"/>
                    <a:pt x="913" y="1928"/>
                    <a:pt x="908" y="1928"/>
                  </a:cubicBezTo>
                  <a:cubicBezTo>
                    <a:pt x="902" y="1928"/>
                    <a:pt x="896" y="1926"/>
                    <a:pt x="892" y="1922"/>
                  </a:cubicBezTo>
                  <a:cubicBezTo>
                    <a:pt x="796" y="1823"/>
                    <a:pt x="796" y="1823"/>
                    <a:pt x="796" y="1823"/>
                  </a:cubicBezTo>
                  <a:cubicBezTo>
                    <a:pt x="787" y="1814"/>
                    <a:pt x="787" y="1800"/>
                    <a:pt x="796" y="1791"/>
                  </a:cubicBezTo>
                  <a:cubicBezTo>
                    <a:pt x="895" y="1695"/>
                    <a:pt x="895" y="1695"/>
                    <a:pt x="895" y="1695"/>
                  </a:cubicBezTo>
                  <a:cubicBezTo>
                    <a:pt x="904" y="1686"/>
                    <a:pt x="918" y="1687"/>
                    <a:pt x="926" y="1695"/>
                  </a:cubicBezTo>
                  <a:cubicBezTo>
                    <a:pt x="935" y="1704"/>
                    <a:pt x="934" y="1718"/>
                    <a:pt x="926" y="1726"/>
                  </a:cubicBezTo>
                  <a:cubicBezTo>
                    <a:pt x="864" y="1787"/>
                    <a:pt x="864" y="1787"/>
                    <a:pt x="864" y="1787"/>
                  </a:cubicBezTo>
                  <a:cubicBezTo>
                    <a:pt x="1240" y="1779"/>
                    <a:pt x="1569" y="1511"/>
                    <a:pt x="1650" y="1143"/>
                  </a:cubicBezTo>
                  <a:cubicBezTo>
                    <a:pt x="1653" y="1131"/>
                    <a:pt x="1665" y="1124"/>
                    <a:pt x="1677" y="1126"/>
                  </a:cubicBezTo>
                  <a:cubicBezTo>
                    <a:pt x="1689" y="1129"/>
                    <a:pt x="1696" y="1141"/>
                    <a:pt x="1693" y="1152"/>
                  </a:cubicBezTo>
                  <a:close/>
                  <a:moveTo>
                    <a:pt x="900" y="107"/>
                  </a:moveTo>
                  <a:cubicBezTo>
                    <a:pt x="804" y="8"/>
                    <a:pt x="804" y="8"/>
                    <a:pt x="804" y="8"/>
                  </a:cubicBezTo>
                  <a:cubicBezTo>
                    <a:pt x="795" y="0"/>
                    <a:pt x="782" y="0"/>
                    <a:pt x="773" y="8"/>
                  </a:cubicBezTo>
                  <a:cubicBezTo>
                    <a:pt x="764" y="17"/>
                    <a:pt x="764" y="30"/>
                    <a:pt x="772" y="39"/>
                  </a:cubicBezTo>
                  <a:cubicBezTo>
                    <a:pt x="831" y="99"/>
                    <a:pt x="831" y="99"/>
                    <a:pt x="831" y="99"/>
                  </a:cubicBezTo>
                  <a:cubicBezTo>
                    <a:pt x="639" y="103"/>
                    <a:pt x="451" y="172"/>
                    <a:pt x="302" y="293"/>
                  </a:cubicBezTo>
                  <a:cubicBezTo>
                    <a:pt x="151" y="416"/>
                    <a:pt x="44" y="588"/>
                    <a:pt x="3" y="778"/>
                  </a:cubicBezTo>
                  <a:cubicBezTo>
                    <a:pt x="0" y="789"/>
                    <a:pt x="7" y="801"/>
                    <a:pt x="19" y="804"/>
                  </a:cubicBezTo>
                  <a:cubicBezTo>
                    <a:pt x="21" y="804"/>
                    <a:pt x="23" y="804"/>
                    <a:pt x="24" y="804"/>
                  </a:cubicBezTo>
                  <a:cubicBezTo>
                    <a:pt x="34" y="804"/>
                    <a:pt x="43" y="797"/>
                    <a:pt x="46" y="787"/>
                  </a:cubicBezTo>
                  <a:cubicBezTo>
                    <a:pt x="127" y="419"/>
                    <a:pt x="456" y="151"/>
                    <a:pt x="832" y="143"/>
                  </a:cubicBezTo>
                  <a:cubicBezTo>
                    <a:pt x="770" y="204"/>
                    <a:pt x="770" y="204"/>
                    <a:pt x="770" y="204"/>
                  </a:cubicBezTo>
                  <a:cubicBezTo>
                    <a:pt x="762" y="212"/>
                    <a:pt x="761" y="226"/>
                    <a:pt x="770" y="235"/>
                  </a:cubicBezTo>
                  <a:cubicBezTo>
                    <a:pt x="774" y="239"/>
                    <a:pt x="780" y="241"/>
                    <a:pt x="786" y="241"/>
                  </a:cubicBezTo>
                  <a:cubicBezTo>
                    <a:pt x="791" y="241"/>
                    <a:pt x="797" y="239"/>
                    <a:pt x="801" y="235"/>
                  </a:cubicBezTo>
                  <a:cubicBezTo>
                    <a:pt x="900" y="139"/>
                    <a:pt x="900" y="139"/>
                    <a:pt x="900" y="139"/>
                  </a:cubicBezTo>
                  <a:cubicBezTo>
                    <a:pt x="909" y="130"/>
                    <a:pt x="909" y="116"/>
                    <a:pt x="900" y="10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6">
              <a:extLst>
                <a:ext uri="{FF2B5EF4-FFF2-40B4-BE49-F238E27FC236}">
                  <a16:creationId xmlns:a16="http://schemas.microsoft.com/office/drawing/2014/main" id="{7D15DCCC-69DD-34F7-F659-B6CEB74964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2" y="570"/>
              <a:ext cx="3616" cy="3176"/>
            </a:xfrm>
            <a:custGeom>
              <a:avLst/>
              <a:gdLst>
                <a:gd name="T0" fmla="*/ 1922 w 1930"/>
                <a:gd name="T1" fmla="*/ 804 h 1694"/>
                <a:gd name="T2" fmla="*/ 1823 w 1930"/>
                <a:gd name="T3" fmla="*/ 900 h 1694"/>
                <a:gd name="T4" fmla="*/ 1807 w 1930"/>
                <a:gd name="T5" fmla="*/ 907 h 1694"/>
                <a:gd name="T6" fmla="*/ 1791 w 1930"/>
                <a:gd name="T7" fmla="*/ 900 h 1694"/>
                <a:gd name="T8" fmla="*/ 1695 w 1930"/>
                <a:gd name="T9" fmla="*/ 801 h 1694"/>
                <a:gd name="T10" fmla="*/ 1695 w 1930"/>
                <a:gd name="T11" fmla="*/ 770 h 1694"/>
                <a:gd name="T12" fmla="*/ 1726 w 1930"/>
                <a:gd name="T13" fmla="*/ 770 h 1694"/>
                <a:gd name="T14" fmla="*/ 1787 w 1930"/>
                <a:gd name="T15" fmla="*/ 832 h 1694"/>
                <a:gd name="T16" fmla="*/ 1143 w 1930"/>
                <a:gd name="T17" fmla="*/ 46 h 1694"/>
                <a:gd name="T18" fmla="*/ 1126 w 1930"/>
                <a:gd name="T19" fmla="*/ 19 h 1694"/>
                <a:gd name="T20" fmla="*/ 1152 w 1930"/>
                <a:gd name="T21" fmla="*/ 3 h 1694"/>
                <a:gd name="T22" fmla="*/ 1637 w 1930"/>
                <a:gd name="T23" fmla="*/ 302 h 1694"/>
                <a:gd name="T24" fmla="*/ 1831 w 1930"/>
                <a:gd name="T25" fmla="*/ 831 h 1694"/>
                <a:gd name="T26" fmla="*/ 1891 w 1930"/>
                <a:gd name="T27" fmla="*/ 772 h 1694"/>
                <a:gd name="T28" fmla="*/ 1922 w 1930"/>
                <a:gd name="T29" fmla="*/ 773 h 1694"/>
                <a:gd name="T30" fmla="*/ 1922 w 1930"/>
                <a:gd name="T31" fmla="*/ 804 h 1694"/>
                <a:gd name="T32" fmla="*/ 787 w 1930"/>
                <a:gd name="T33" fmla="*/ 1651 h 1694"/>
                <a:gd name="T34" fmla="*/ 143 w 1930"/>
                <a:gd name="T35" fmla="*/ 864 h 1694"/>
                <a:gd name="T36" fmla="*/ 204 w 1930"/>
                <a:gd name="T37" fmla="*/ 926 h 1694"/>
                <a:gd name="T38" fmla="*/ 219 w 1930"/>
                <a:gd name="T39" fmla="*/ 932 h 1694"/>
                <a:gd name="T40" fmla="*/ 235 w 1930"/>
                <a:gd name="T41" fmla="*/ 926 h 1694"/>
                <a:gd name="T42" fmla="*/ 235 w 1930"/>
                <a:gd name="T43" fmla="*/ 895 h 1694"/>
                <a:gd name="T44" fmla="*/ 139 w 1930"/>
                <a:gd name="T45" fmla="*/ 796 h 1694"/>
                <a:gd name="T46" fmla="*/ 107 w 1930"/>
                <a:gd name="T47" fmla="*/ 796 h 1694"/>
                <a:gd name="T48" fmla="*/ 8 w 1930"/>
                <a:gd name="T49" fmla="*/ 892 h 1694"/>
                <a:gd name="T50" fmla="*/ 8 w 1930"/>
                <a:gd name="T51" fmla="*/ 923 h 1694"/>
                <a:gd name="T52" fmla="*/ 39 w 1930"/>
                <a:gd name="T53" fmla="*/ 924 h 1694"/>
                <a:gd name="T54" fmla="*/ 99 w 1930"/>
                <a:gd name="T55" fmla="*/ 865 h 1694"/>
                <a:gd name="T56" fmla="*/ 293 w 1930"/>
                <a:gd name="T57" fmla="*/ 1394 h 1694"/>
                <a:gd name="T58" fmla="*/ 778 w 1930"/>
                <a:gd name="T59" fmla="*/ 1693 h 1694"/>
                <a:gd name="T60" fmla="*/ 782 w 1930"/>
                <a:gd name="T61" fmla="*/ 1694 h 1694"/>
                <a:gd name="T62" fmla="*/ 804 w 1930"/>
                <a:gd name="T63" fmla="*/ 1677 h 1694"/>
                <a:gd name="T64" fmla="*/ 787 w 1930"/>
                <a:gd name="T65" fmla="*/ 1651 h 1694"/>
                <a:gd name="T66" fmla="*/ 1473 w 1930"/>
                <a:gd name="T67" fmla="*/ 848 h 1694"/>
                <a:gd name="T68" fmla="*/ 965 w 1930"/>
                <a:gd name="T69" fmla="*/ 1356 h 1694"/>
                <a:gd name="T70" fmla="*/ 457 w 1930"/>
                <a:gd name="T71" fmla="*/ 848 h 1694"/>
                <a:gd name="T72" fmla="*/ 965 w 1930"/>
                <a:gd name="T73" fmla="*/ 340 h 1694"/>
                <a:gd name="T74" fmla="*/ 1473 w 1930"/>
                <a:gd name="T75" fmla="*/ 848 h 1694"/>
                <a:gd name="T76" fmla="*/ 1290 w 1930"/>
                <a:gd name="T77" fmla="*/ 639 h 1694"/>
                <a:gd name="T78" fmla="*/ 1259 w 1930"/>
                <a:gd name="T79" fmla="*/ 640 h 1694"/>
                <a:gd name="T80" fmla="*/ 921 w 1930"/>
                <a:gd name="T81" fmla="*/ 988 h 1694"/>
                <a:gd name="T82" fmla="*/ 735 w 1930"/>
                <a:gd name="T83" fmla="*/ 819 h 1694"/>
                <a:gd name="T84" fmla="*/ 704 w 1930"/>
                <a:gd name="T85" fmla="*/ 820 h 1694"/>
                <a:gd name="T86" fmla="*/ 705 w 1930"/>
                <a:gd name="T87" fmla="*/ 851 h 1694"/>
                <a:gd name="T88" fmla="*/ 907 w 1930"/>
                <a:gd name="T89" fmla="*/ 1035 h 1694"/>
                <a:gd name="T90" fmla="*/ 922 w 1930"/>
                <a:gd name="T91" fmla="*/ 1041 h 1694"/>
                <a:gd name="T92" fmla="*/ 937 w 1930"/>
                <a:gd name="T93" fmla="*/ 1034 h 1694"/>
                <a:gd name="T94" fmla="*/ 1290 w 1930"/>
                <a:gd name="T95" fmla="*/ 671 h 1694"/>
                <a:gd name="T96" fmla="*/ 1290 w 1930"/>
                <a:gd name="T97" fmla="*/ 639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30" h="1694">
                  <a:moveTo>
                    <a:pt x="1922" y="804"/>
                  </a:moveTo>
                  <a:cubicBezTo>
                    <a:pt x="1823" y="900"/>
                    <a:pt x="1823" y="900"/>
                    <a:pt x="1823" y="900"/>
                  </a:cubicBezTo>
                  <a:cubicBezTo>
                    <a:pt x="1818" y="905"/>
                    <a:pt x="1813" y="907"/>
                    <a:pt x="1807" y="907"/>
                  </a:cubicBezTo>
                  <a:cubicBezTo>
                    <a:pt x="1801" y="907"/>
                    <a:pt x="1796" y="904"/>
                    <a:pt x="1791" y="900"/>
                  </a:cubicBezTo>
                  <a:cubicBezTo>
                    <a:pt x="1695" y="801"/>
                    <a:pt x="1695" y="801"/>
                    <a:pt x="1695" y="801"/>
                  </a:cubicBezTo>
                  <a:cubicBezTo>
                    <a:pt x="1686" y="792"/>
                    <a:pt x="1687" y="778"/>
                    <a:pt x="1695" y="770"/>
                  </a:cubicBezTo>
                  <a:cubicBezTo>
                    <a:pt x="1704" y="761"/>
                    <a:pt x="1718" y="762"/>
                    <a:pt x="1726" y="770"/>
                  </a:cubicBezTo>
                  <a:cubicBezTo>
                    <a:pt x="1787" y="832"/>
                    <a:pt x="1787" y="832"/>
                    <a:pt x="1787" y="832"/>
                  </a:cubicBezTo>
                  <a:cubicBezTo>
                    <a:pt x="1779" y="456"/>
                    <a:pt x="1511" y="127"/>
                    <a:pt x="1143" y="46"/>
                  </a:cubicBezTo>
                  <a:cubicBezTo>
                    <a:pt x="1131" y="43"/>
                    <a:pt x="1124" y="31"/>
                    <a:pt x="1126" y="19"/>
                  </a:cubicBezTo>
                  <a:cubicBezTo>
                    <a:pt x="1129" y="8"/>
                    <a:pt x="1141" y="0"/>
                    <a:pt x="1152" y="3"/>
                  </a:cubicBezTo>
                  <a:cubicBezTo>
                    <a:pt x="1342" y="44"/>
                    <a:pt x="1514" y="151"/>
                    <a:pt x="1637" y="302"/>
                  </a:cubicBezTo>
                  <a:cubicBezTo>
                    <a:pt x="1759" y="451"/>
                    <a:pt x="1827" y="639"/>
                    <a:pt x="1831" y="831"/>
                  </a:cubicBezTo>
                  <a:cubicBezTo>
                    <a:pt x="1891" y="772"/>
                    <a:pt x="1891" y="772"/>
                    <a:pt x="1891" y="772"/>
                  </a:cubicBezTo>
                  <a:cubicBezTo>
                    <a:pt x="1900" y="764"/>
                    <a:pt x="1914" y="764"/>
                    <a:pt x="1922" y="773"/>
                  </a:cubicBezTo>
                  <a:cubicBezTo>
                    <a:pt x="1930" y="781"/>
                    <a:pt x="1930" y="795"/>
                    <a:pt x="1922" y="804"/>
                  </a:cubicBezTo>
                  <a:close/>
                  <a:moveTo>
                    <a:pt x="787" y="1651"/>
                  </a:moveTo>
                  <a:cubicBezTo>
                    <a:pt x="419" y="1569"/>
                    <a:pt x="151" y="1240"/>
                    <a:pt x="143" y="864"/>
                  </a:cubicBezTo>
                  <a:cubicBezTo>
                    <a:pt x="204" y="926"/>
                    <a:pt x="204" y="926"/>
                    <a:pt x="204" y="926"/>
                  </a:cubicBezTo>
                  <a:cubicBezTo>
                    <a:pt x="208" y="930"/>
                    <a:pt x="214" y="932"/>
                    <a:pt x="219" y="932"/>
                  </a:cubicBezTo>
                  <a:cubicBezTo>
                    <a:pt x="225" y="932"/>
                    <a:pt x="230" y="930"/>
                    <a:pt x="235" y="926"/>
                  </a:cubicBezTo>
                  <a:cubicBezTo>
                    <a:pt x="243" y="918"/>
                    <a:pt x="244" y="904"/>
                    <a:pt x="235" y="895"/>
                  </a:cubicBezTo>
                  <a:cubicBezTo>
                    <a:pt x="139" y="796"/>
                    <a:pt x="139" y="796"/>
                    <a:pt x="139" y="796"/>
                  </a:cubicBezTo>
                  <a:cubicBezTo>
                    <a:pt x="130" y="787"/>
                    <a:pt x="116" y="787"/>
                    <a:pt x="107" y="796"/>
                  </a:cubicBezTo>
                  <a:cubicBezTo>
                    <a:pt x="8" y="892"/>
                    <a:pt x="8" y="892"/>
                    <a:pt x="8" y="892"/>
                  </a:cubicBezTo>
                  <a:cubicBezTo>
                    <a:pt x="0" y="901"/>
                    <a:pt x="0" y="915"/>
                    <a:pt x="8" y="923"/>
                  </a:cubicBezTo>
                  <a:cubicBezTo>
                    <a:pt x="16" y="932"/>
                    <a:pt x="30" y="932"/>
                    <a:pt x="39" y="924"/>
                  </a:cubicBezTo>
                  <a:cubicBezTo>
                    <a:pt x="99" y="865"/>
                    <a:pt x="99" y="865"/>
                    <a:pt x="99" y="865"/>
                  </a:cubicBezTo>
                  <a:cubicBezTo>
                    <a:pt x="103" y="1057"/>
                    <a:pt x="172" y="1245"/>
                    <a:pt x="293" y="1394"/>
                  </a:cubicBezTo>
                  <a:cubicBezTo>
                    <a:pt x="416" y="1545"/>
                    <a:pt x="588" y="1652"/>
                    <a:pt x="778" y="1693"/>
                  </a:cubicBezTo>
                  <a:cubicBezTo>
                    <a:pt x="779" y="1694"/>
                    <a:pt x="781" y="1694"/>
                    <a:pt x="782" y="1694"/>
                  </a:cubicBezTo>
                  <a:cubicBezTo>
                    <a:pt x="792" y="1694"/>
                    <a:pt x="802" y="1687"/>
                    <a:pt x="804" y="1677"/>
                  </a:cubicBezTo>
                  <a:cubicBezTo>
                    <a:pt x="806" y="1665"/>
                    <a:pt x="799" y="1653"/>
                    <a:pt x="787" y="1651"/>
                  </a:cubicBezTo>
                  <a:close/>
                  <a:moveTo>
                    <a:pt x="1473" y="848"/>
                  </a:moveTo>
                  <a:cubicBezTo>
                    <a:pt x="1473" y="1129"/>
                    <a:pt x="1246" y="1356"/>
                    <a:pt x="965" y="1356"/>
                  </a:cubicBezTo>
                  <a:cubicBezTo>
                    <a:pt x="684" y="1356"/>
                    <a:pt x="457" y="1129"/>
                    <a:pt x="457" y="848"/>
                  </a:cubicBezTo>
                  <a:cubicBezTo>
                    <a:pt x="457" y="567"/>
                    <a:pt x="684" y="340"/>
                    <a:pt x="965" y="340"/>
                  </a:cubicBezTo>
                  <a:cubicBezTo>
                    <a:pt x="1246" y="340"/>
                    <a:pt x="1473" y="567"/>
                    <a:pt x="1473" y="848"/>
                  </a:cubicBezTo>
                  <a:close/>
                  <a:moveTo>
                    <a:pt x="1290" y="639"/>
                  </a:moveTo>
                  <a:cubicBezTo>
                    <a:pt x="1281" y="631"/>
                    <a:pt x="1267" y="631"/>
                    <a:pt x="1259" y="640"/>
                  </a:cubicBezTo>
                  <a:cubicBezTo>
                    <a:pt x="921" y="988"/>
                    <a:pt x="921" y="988"/>
                    <a:pt x="921" y="988"/>
                  </a:cubicBezTo>
                  <a:cubicBezTo>
                    <a:pt x="735" y="819"/>
                    <a:pt x="735" y="819"/>
                    <a:pt x="735" y="819"/>
                  </a:cubicBezTo>
                  <a:cubicBezTo>
                    <a:pt x="726" y="810"/>
                    <a:pt x="712" y="811"/>
                    <a:pt x="704" y="820"/>
                  </a:cubicBezTo>
                  <a:cubicBezTo>
                    <a:pt x="696" y="829"/>
                    <a:pt x="696" y="843"/>
                    <a:pt x="705" y="851"/>
                  </a:cubicBezTo>
                  <a:cubicBezTo>
                    <a:pt x="907" y="1035"/>
                    <a:pt x="907" y="1035"/>
                    <a:pt x="907" y="1035"/>
                  </a:cubicBezTo>
                  <a:cubicBezTo>
                    <a:pt x="911" y="1039"/>
                    <a:pt x="916" y="1041"/>
                    <a:pt x="922" y="1041"/>
                  </a:cubicBezTo>
                  <a:cubicBezTo>
                    <a:pt x="927" y="1041"/>
                    <a:pt x="933" y="1039"/>
                    <a:pt x="937" y="1034"/>
                  </a:cubicBezTo>
                  <a:cubicBezTo>
                    <a:pt x="1290" y="671"/>
                    <a:pt x="1290" y="671"/>
                    <a:pt x="1290" y="671"/>
                  </a:cubicBezTo>
                  <a:cubicBezTo>
                    <a:pt x="1299" y="662"/>
                    <a:pt x="1299" y="648"/>
                    <a:pt x="1290" y="6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Group 12">
            <a:extLst>
              <a:ext uri="{FF2B5EF4-FFF2-40B4-BE49-F238E27FC236}">
                <a16:creationId xmlns:a16="http://schemas.microsoft.com/office/drawing/2014/main" id="{08572BE4-69C2-0B67-E402-1A94A1F676D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6385" y="2438923"/>
            <a:ext cx="719334" cy="720000"/>
            <a:chOff x="1682" y="0"/>
            <a:chExt cx="4316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C56D43A4-0316-C505-1CCA-1BBE896DDB2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6EBFE1C1-FF83-13D4-CEDE-2C15AFCD3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0" y="501"/>
              <a:ext cx="1952" cy="2366"/>
            </a:xfrm>
            <a:custGeom>
              <a:avLst/>
              <a:gdLst>
                <a:gd name="T0" fmla="*/ 679 w 1042"/>
                <a:gd name="T1" fmla="*/ 1055 h 1262"/>
                <a:gd name="T2" fmla="*/ 528 w 1042"/>
                <a:gd name="T3" fmla="*/ 913 h 1262"/>
                <a:gd name="T4" fmla="*/ 579 w 1042"/>
                <a:gd name="T5" fmla="*/ 571 h 1262"/>
                <a:gd name="T6" fmla="*/ 500 w 1042"/>
                <a:gd name="T7" fmla="*/ 812 h 1262"/>
                <a:gd name="T8" fmla="*/ 579 w 1042"/>
                <a:gd name="T9" fmla="*/ 571 h 1262"/>
                <a:gd name="T10" fmla="*/ 738 w 1042"/>
                <a:gd name="T11" fmla="*/ 499 h 1262"/>
                <a:gd name="T12" fmla="*/ 926 w 1042"/>
                <a:gd name="T13" fmla="*/ 576 h 1262"/>
                <a:gd name="T14" fmla="*/ 934 w 1042"/>
                <a:gd name="T15" fmla="*/ 533 h 1262"/>
                <a:gd name="T16" fmla="*/ 800 w 1042"/>
                <a:gd name="T17" fmla="*/ 133 h 1262"/>
                <a:gd name="T18" fmla="*/ 1022 w 1042"/>
                <a:gd name="T19" fmla="*/ 477 h 1262"/>
                <a:gd name="T20" fmla="*/ 821 w 1042"/>
                <a:gd name="T21" fmla="*/ 94 h 1262"/>
                <a:gd name="T22" fmla="*/ 728 w 1042"/>
                <a:gd name="T23" fmla="*/ 165 h 1262"/>
                <a:gd name="T24" fmla="*/ 639 w 1042"/>
                <a:gd name="T25" fmla="*/ 403 h 1262"/>
                <a:gd name="T26" fmla="*/ 682 w 1042"/>
                <a:gd name="T27" fmla="*/ 411 h 1262"/>
                <a:gd name="T28" fmla="*/ 728 w 1042"/>
                <a:gd name="T29" fmla="*/ 165 h 1262"/>
                <a:gd name="T30" fmla="*/ 654 w 1042"/>
                <a:gd name="T31" fmla="*/ 130 h 1262"/>
                <a:gd name="T32" fmla="*/ 338 w 1042"/>
                <a:gd name="T33" fmla="*/ 237 h 1262"/>
                <a:gd name="T34" fmla="*/ 135 w 1042"/>
                <a:gd name="T35" fmla="*/ 664 h 1262"/>
                <a:gd name="T36" fmla="*/ 207 w 1042"/>
                <a:gd name="T37" fmla="*/ 376 h 1262"/>
                <a:gd name="T38" fmla="*/ 135 w 1042"/>
                <a:gd name="T39" fmla="*/ 664 h 1262"/>
                <a:gd name="T40" fmla="*/ 979 w 1042"/>
                <a:gd name="T41" fmla="*/ 659 h 1262"/>
                <a:gd name="T42" fmla="*/ 772 w 1042"/>
                <a:gd name="T43" fmla="*/ 988 h 1262"/>
                <a:gd name="T44" fmla="*/ 915 w 1042"/>
                <a:gd name="T45" fmla="*/ 864 h 1262"/>
                <a:gd name="T46" fmla="*/ 1022 w 1042"/>
                <a:gd name="T47" fmla="*/ 669 h 1262"/>
                <a:gd name="T48" fmla="*/ 548 w 1042"/>
                <a:gd name="T49" fmla="*/ 516 h 1262"/>
                <a:gd name="T50" fmla="*/ 173 w 1042"/>
                <a:gd name="T51" fmla="*/ 725 h 1262"/>
                <a:gd name="T52" fmla="*/ 548 w 1042"/>
                <a:gd name="T53" fmla="*/ 516 h 1262"/>
                <a:gd name="T54" fmla="*/ 44 w 1042"/>
                <a:gd name="T55" fmla="*/ 521 h 1262"/>
                <a:gd name="T56" fmla="*/ 633 w 1042"/>
                <a:gd name="T57" fmla="*/ 57 h 1262"/>
                <a:gd name="T58" fmla="*/ 522 w 1042"/>
                <a:gd name="T59" fmla="*/ 0 h 1262"/>
                <a:gd name="T60" fmla="*/ 21 w 1042"/>
                <a:gd name="T61" fmla="*/ 665 h 1262"/>
                <a:gd name="T62" fmla="*/ 781 w 1042"/>
                <a:gd name="T63" fmla="*/ 1262 h 1262"/>
                <a:gd name="T64" fmla="*/ 770 w 1042"/>
                <a:gd name="T65" fmla="*/ 1180 h 1262"/>
                <a:gd name="T66" fmla="*/ 737 w 1042"/>
                <a:gd name="T67" fmla="*/ 1262 h 1262"/>
                <a:gd name="T68" fmla="*/ 263 w 1042"/>
                <a:gd name="T69" fmla="*/ 1262 h 1262"/>
                <a:gd name="T70" fmla="*/ 307 w 1042"/>
                <a:gd name="T71" fmla="*/ 1130 h 1262"/>
                <a:gd name="T72" fmla="*/ 144 w 1042"/>
                <a:gd name="T73" fmla="*/ 813 h 1262"/>
                <a:gd name="T74" fmla="*/ 128 w 1042"/>
                <a:gd name="T75" fmla="*/ 862 h 1262"/>
                <a:gd name="T76" fmla="*/ 263 w 1042"/>
                <a:gd name="T77" fmla="*/ 1130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42" h="1262">
                  <a:moveTo>
                    <a:pt x="505" y="951"/>
                  </a:moveTo>
                  <a:cubicBezTo>
                    <a:pt x="679" y="1055"/>
                    <a:pt x="679" y="1055"/>
                    <a:pt x="679" y="1055"/>
                  </a:cubicBezTo>
                  <a:cubicBezTo>
                    <a:pt x="683" y="1040"/>
                    <a:pt x="691" y="1028"/>
                    <a:pt x="702" y="1017"/>
                  </a:cubicBezTo>
                  <a:cubicBezTo>
                    <a:pt x="528" y="913"/>
                    <a:pt x="528" y="913"/>
                    <a:pt x="528" y="913"/>
                  </a:cubicBezTo>
                  <a:cubicBezTo>
                    <a:pt x="523" y="927"/>
                    <a:pt x="515" y="940"/>
                    <a:pt x="505" y="951"/>
                  </a:cubicBezTo>
                  <a:close/>
                  <a:moveTo>
                    <a:pt x="579" y="571"/>
                  </a:moveTo>
                  <a:cubicBezTo>
                    <a:pt x="461" y="791"/>
                    <a:pt x="461" y="791"/>
                    <a:pt x="461" y="791"/>
                  </a:cubicBezTo>
                  <a:cubicBezTo>
                    <a:pt x="476" y="795"/>
                    <a:pt x="489" y="802"/>
                    <a:pt x="500" y="812"/>
                  </a:cubicBezTo>
                  <a:cubicBezTo>
                    <a:pt x="618" y="592"/>
                    <a:pt x="618" y="592"/>
                    <a:pt x="618" y="592"/>
                  </a:cubicBezTo>
                  <a:cubicBezTo>
                    <a:pt x="603" y="588"/>
                    <a:pt x="590" y="580"/>
                    <a:pt x="579" y="571"/>
                  </a:cubicBezTo>
                  <a:close/>
                  <a:moveTo>
                    <a:pt x="738" y="495"/>
                  </a:moveTo>
                  <a:cubicBezTo>
                    <a:pt x="738" y="496"/>
                    <a:pt x="738" y="498"/>
                    <a:pt x="738" y="499"/>
                  </a:cubicBezTo>
                  <a:cubicBezTo>
                    <a:pt x="738" y="513"/>
                    <a:pt x="735" y="526"/>
                    <a:pt x="730" y="538"/>
                  </a:cubicBezTo>
                  <a:cubicBezTo>
                    <a:pt x="926" y="576"/>
                    <a:pt x="926" y="576"/>
                    <a:pt x="926" y="576"/>
                  </a:cubicBezTo>
                  <a:cubicBezTo>
                    <a:pt x="926" y="575"/>
                    <a:pt x="926" y="574"/>
                    <a:pt x="926" y="573"/>
                  </a:cubicBezTo>
                  <a:cubicBezTo>
                    <a:pt x="926" y="559"/>
                    <a:pt x="929" y="545"/>
                    <a:pt x="934" y="533"/>
                  </a:cubicBezTo>
                  <a:lnTo>
                    <a:pt x="738" y="495"/>
                  </a:lnTo>
                  <a:close/>
                  <a:moveTo>
                    <a:pt x="800" y="133"/>
                  </a:moveTo>
                  <a:cubicBezTo>
                    <a:pt x="910" y="212"/>
                    <a:pt x="986" y="337"/>
                    <a:pt x="998" y="480"/>
                  </a:cubicBezTo>
                  <a:cubicBezTo>
                    <a:pt x="1005" y="478"/>
                    <a:pt x="1013" y="477"/>
                    <a:pt x="1022" y="477"/>
                  </a:cubicBezTo>
                  <a:cubicBezTo>
                    <a:pt x="1029" y="477"/>
                    <a:pt x="1035" y="478"/>
                    <a:pt x="1042" y="479"/>
                  </a:cubicBezTo>
                  <a:cubicBezTo>
                    <a:pt x="1029" y="320"/>
                    <a:pt x="945" y="181"/>
                    <a:pt x="821" y="94"/>
                  </a:cubicBezTo>
                  <a:cubicBezTo>
                    <a:pt x="817" y="108"/>
                    <a:pt x="809" y="122"/>
                    <a:pt x="800" y="133"/>
                  </a:cubicBezTo>
                  <a:close/>
                  <a:moveTo>
                    <a:pt x="728" y="165"/>
                  </a:moveTo>
                  <a:cubicBezTo>
                    <a:pt x="714" y="165"/>
                    <a:pt x="700" y="162"/>
                    <a:pt x="688" y="156"/>
                  </a:cubicBezTo>
                  <a:cubicBezTo>
                    <a:pt x="639" y="403"/>
                    <a:pt x="639" y="403"/>
                    <a:pt x="639" y="403"/>
                  </a:cubicBezTo>
                  <a:cubicBezTo>
                    <a:pt x="640" y="403"/>
                    <a:pt x="641" y="403"/>
                    <a:pt x="642" y="403"/>
                  </a:cubicBezTo>
                  <a:cubicBezTo>
                    <a:pt x="657" y="403"/>
                    <a:pt x="670" y="406"/>
                    <a:pt x="682" y="411"/>
                  </a:cubicBezTo>
                  <a:cubicBezTo>
                    <a:pt x="731" y="165"/>
                    <a:pt x="731" y="165"/>
                    <a:pt x="731" y="165"/>
                  </a:cubicBezTo>
                  <a:cubicBezTo>
                    <a:pt x="730" y="165"/>
                    <a:pt x="729" y="165"/>
                    <a:pt x="728" y="165"/>
                  </a:cubicBezTo>
                  <a:close/>
                  <a:moveTo>
                    <a:pt x="357" y="277"/>
                  </a:moveTo>
                  <a:cubicBezTo>
                    <a:pt x="654" y="130"/>
                    <a:pt x="654" y="130"/>
                    <a:pt x="654" y="130"/>
                  </a:cubicBezTo>
                  <a:cubicBezTo>
                    <a:pt x="645" y="119"/>
                    <a:pt x="638" y="105"/>
                    <a:pt x="635" y="90"/>
                  </a:cubicBezTo>
                  <a:cubicBezTo>
                    <a:pt x="338" y="237"/>
                    <a:pt x="338" y="237"/>
                    <a:pt x="338" y="237"/>
                  </a:cubicBezTo>
                  <a:cubicBezTo>
                    <a:pt x="347" y="248"/>
                    <a:pt x="354" y="262"/>
                    <a:pt x="357" y="277"/>
                  </a:cubicBezTo>
                  <a:close/>
                  <a:moveTo>
                    <a:pt x="135" y="664"/>
                  </a:moveTo>
                  <a:cubicBezTo>
                    <a:pt x="248" y="393"/>
                    <a:pt x="248" y="393"/>
                    <a:pt x="248" y="393"/>
                  </a:cubicBezTo>
                  <a:cubicBezTo>
                    <a:pt x="233" y="391"/>
                    <a:pt x="219" y="385"/>
                    <a:pt x="207" y="376"/>
                  </a:cubicBezTo>
                  <a:cubicBezTo>
                    <a:pt x="94" y="647"/>
                    <a:pt x="94" y="647"/>
                    <a:pt x="94" y="647"/>
                  </a:cubicBezTo>
                  <a:cubicBezTo>
                    <a:pt x="109" y="650"/>
                    <a:pt x="123" y="656"/>
                    <a:pt x="135" y="664"/>
                  </a:cubicBezTo>
                  <a:close/>
                  <a:moveTo>
                    <a:pt x="1022" y="669"/>
                  </a:moveTo>
                  <a:cubicBezTo>
                    <a:pt x="1006" y="669"/>
                    <a:pt x="992" y="665"/>
                    <a:pt x="979" y="659"/>
                  </a:cubicBezTo>
                  <a:cubicBezTo>
                    <a:pt x="960" y="722"/>
                    <a:pt x="928" y="782"/>
                    <a:pt x="884" y="833"/>
                  </a:cubicBezTo>
                  <a:cubicBezTo>
                    <a:pt x="875" y="841"/>
                    <a:pt x="812" y="903"/>
                    <a:pt x="772" y="988"/>
                  </a:cubicBezTo>
                  <a:cubicBezTo>
                    <a:pt x="787" y="988"/>
                    <a:pt x="802" y="992"/>
                    <a:pt x="815" y="999"/>
                  </a:cubicBezTo>
                  <a:cubicBezTo>
                    <a:pt x="855" y="921"/>
                    <a:pt x="914" y="865"/>
                    <a:pt x="915" y="864"/>
                  </a:cubicBezTo>
                  <a:cubicBezTo>
                    <a:pt x="917" y="862"/>
                    <a:pt x="917" y="862"/>
                    <a:pt x="917" y="862"/>
                  </a:cubicBezTo>
                  <a:cubicBezTo>
                    <a:pt x="966" y="806"/>
                    <a:pt x="1001" y="740"/>
                    <a:pt x="1022" y="669"/>
                  </a:cubicBezTo>
                  <a:cubicBezTo>
                    <a:pt x="1022" y="669"/>
                    <a:pt x="1022" y="669"/>
                    <a:pt x="1022" y="669"/>
                  </a:cubicBezTo>
                  <a:close/>
                  <a:moveTo>
                    <a:pt x="548" y="516"/>
                  </a:moveTo>
                  <a:cubicBezTo>
                    <a:pt x="156" y="685"/>
                    <a:pt x="156" y="685"/>
                    <a:pt x="156" y="685"/>
                  </a:cubicBezTo>
                  <a:cubicBezTo>
                    <a:pt x="164" y="696"/>
                    <a:pt x="171" y="710"/>
                    <a:pt x="173" y="725"/>
                  </a:cubicBezTo>
                  <a:cubicBezTo>
                    <a:pt x="565" y="556"/>
                    <a:pt x="565" y="556"/>
                    <a:pt x="565" y="556"/>
                  </a:cubicBezTo>
                  <a:cubicBezTo>
                    <a:pt x="557" y="544"/>
                    <a:pt x="551" y="531"/>
                    <a:pt x="548" y="516"/>
                  </a:cubicBezTo>
                  <a:close/>
                  <a:moveTo>
                    <a:pt x="61" y="648"/>
                  </a:moveTo>
                  <a:cubicBezTo>
                    <a:pt x="50" y="607"/>
                    <a:pt x="44" y="564"/>
                    <a:pt x="44" y="521"/>
                  </a:cubicBezTo>
                  <a:cubicBezTo>
                    <a:pt x="44" y="258"/>
                    <a:pt x="259" y="44"/>
                    <a:pt x="522" y="44"/>
                  </a:cubicBezTo>
                  <a:cubicBezTo>
                    <a:pt x="560" y="44"/>
                    <a:pt x="597" y="48"/>
                    <a:pt x="633" y="57"/>
                  </a:cubicBezTo>
                  <a:cubicBezTo>
                    <a:pt x="635" y="41"/>
                    <a:pt x="640" y="27"/>
                    <a:pt x="649" y="15"/>
                  </a:cubicBezTo>
                  <a:cubicBezTo>
                    <a:pt x="608" y="5"/>
                    <a:pt x="566" y="0"/>
                    <a:pt x="522" y="0"/>
                  </a:cubicBezTo>
                  <a:cubicBezTo>
                    <a:pt x="234" y="0"/>
                    <a:pt x="0" y="234"/>
                    <a:pt x="0" y="521"/>
                  </a:cubicBezTo>
                  <a:cubicBezTo>
                    <a:pt x="0" y="570"/>
                    <a:pt x="7" y="619"/>
                    <a:pt x="21" y="665"/>
                  </a:cubicBezTo>
                  <a:cubicBezTo>
                    <a:pt x="33" y="657"/>
                    <a:pt x="46" y="650"/>
                    <a:pt x="61" y="648"/>
                  </a:cubicBezTo>
                  <a:close/>
                  <a:moveTo>
                    <a:pt x="781" y="1262"/>
                  </a:moveTo>
                  <a:cubicBezTo>
                    <a:pt x="781" y="1179"/>
                    <a:pt x="781" y="1179"/>
                    <a:pt x="781" y="1179"/>
                  </a:cubicBezTo>
                  <a:cubicBezTo>
                    <a:pt x="777" y="1180"/>
                    <a:pt x="774" y="1180"/>
                    <a:pt x="770" y="1180"/>
                  </a:cubicBezTo>
                  <a:cubicBezTo>
                    <a:pt x="758" y="1180"/>
                    <a:pt x="747" y="1178"/>
                    <a:pt x="737" y="1174"/>
                  </a:cubicBezTo>
                  <a:cubicBezTo>
                    <a:pt x="737" y="1262"/>
                    <a:pt x="737" y="1262"/>
                    <a:pt x="737" y="1262"/>
                  </a:cubicBezTo>
                  <a:lnTo>
                    <a:pt x="781" y="1262"/>
                  </a:lnTo>
                  <a:close/>
                  <a:moveTo>
                    <a:pt x="263" y="1262"/>
                  </a:moveTo>
                  <a:cubicBezTo>
                    <a:pt x="307" y="1262"/>
                    <a:pt x="307" y="1262"/>
                    <a:pt x="307" y="1262"/>
                  </a:cubicBezTo>
                  <a:cubicBezTo>
                    <a:pt x="307" y="1130"/>
                    <a:pt x="307" y="1130"/>
                    <a:pt x="307" y="1130"/>
                  </a:cubicBezTo>
                  <a:cubicBezTo>
                    <a:pt x="307" y="976"/>
                    <a:pt x="174" y="846"/>
                    <a:pt x="160" y="833"/>
                  </a:cubicBezTo>
                  <a:cubicBezTo>
                    <a:pt x="154" y="826"/>
                    <a:pt x="149" y="819"/>
                    <a:pt x="144" y="813"/>
                  </a:cubicBezTo>
                  <a:cubicBezTo>
                    <a:pt x="133" y="823"/>
                    <a:pt x="120" y="830"/>
                    <a:pt x="105" y="834"/>
                  </a:cubicBezTo>
                  <a:cubicBezTo>
                    <a:pt x="112" y="844"/>
                    <a:pt x="120" y="853"/>
                    <a:pt x="128" y="862"/>
                  </a:cubicBezTo>
                  <a:cubicBezTo>
                    <a:pt x="129" y="864"/>
                    <a:pt x="129" y="864"/>
                    <a:pt x="129" y="864"/>
                  </a:cubicBezTo>
                  <a:cubicBezTo>
                    <a:pt x="131" y="865"/>
                    <a:pt x="263" y="991"/>
                    <a:pt x="263" y="1130"/>
                  </a:cubicBezTo>
                  <a:lnTo>
                    <a:pt x="263" y="126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948D86E3-52F2-71F5-4EEF-FCC51CAAB7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1" y="532"/>
              <a:ext cx="1961" cy="3276"/>
            </a:xfrm>
            <a:custGeom>
              <a:avLst/>
              <a:gdLst>
                <a:gd name="T0" fmla="*/ 0 w 1047"/>
                <a:gd name="T1" fmla="*/ 725 h 1747"/>
                <a:gd name="T2" fmla="*/ 104 w 1047"/>
                <a:gd name="T3" fmla="*/ 725 h 1747"/>
                <a:gd name="T4" fmla="*/ 701 w 1047"/>
                <a:gd name="T5" fmla="*/ 0 h 1747"/>
                <a:gd name="T6" fmla="*/ 701 w 1047"/>
                <a:gd name="T7" fmla="*/ 104 h 1747"/>
                <a:gd name="T8" fmla="*/ 701 w 1047"/>
                <a:gd name="T9" fmla="*/ 0 h 1747"/>
                <a:gd name="T10" fmla="*/ 943 w 1047"/>
                <a:gd name="T11" fmla="*/ 556 h 1747"/>
                <a:gd name="T12" fmla="*/ 1047 w 1047"/>
                <a:gd name="T13" fmla="*/ 556 h 1747"/>
                <a:gd name="T14" fmla="*/ 237 w 1047"/>
                <a:gd name="T15" fmla="*/ 229 h 1747"/>
                <a:gd name="T16" fmla="*/ 237 w 1047"/>
                <a:gd name="T17" fmla="*/ 333 h 1747"/>
                <a:gd name="T18" fmla="*/ 237 w 1047"/>
                <a:gd name="T19" fmla="*/ 229 h 1747"/>
                <a:gd name="T20" fmla="*/ 357 w 1047"/>
                <a:gd name="T21" fmla="*/ 867 h 1747"/>
                <a:gd name="T22" fmla="*/ 461 w 1047"/>
                <a:gd name="T23" fmla="*/ 867 h 1747"/>
                <a:gd name="T24" fmla="*/ 743 w 1047"/>
                <a:gd name="T25" fmla="*/ 1015 h 1747"/>
                <a:gd name="T26" fmla="*/ 743 w 1047"/>
                <a:gd name="T27" fmla="*/ 1119 h 1747"/>
                <a:gd name="T28" fmla="*/ 743 w 1047"/>
                <a:gd name="T29" fmla="*/ 1015 h 1747"/>
                <a:gd name="T30" fmla="*/ 563 w 1047"/>
                <a:gd name="T31" fmla="*/ 482 h 1747"/>
                <a:gd name="T32" fmla="*/ 667 w 1047"/>
                <a:gd name="T33" fmla="*/ 482 h 1747"/>
                <a:gd name="T34" fmla="*/ 820 w 1047"/>
                <a:gd name="T35" fmla="*/ 1288 h 1747"/>
                <a:gd name="T36" fmla="*/ 216 w 1047"/>
                <a:gd name="T37" fmla="*/ 1245 h 1747"/>
                <a:gd name="T38" fmla="*/ 173 w 1047"/>
                <a:gd name="T39" fmla="*/ 1376 h 1747"/>
                <a:gd name="T40" fmla="*/ 173 w 1047"/>
                <a:gd name="T41" fmla="*/ 1418 h 1747"/>
                <a:gd name="T42" fmla="*/ 179 w 1047"/>
                <a:gd name="T43" fmla="*/ 1507 h 1747"/>
                <a:gd name="T44" fmla="*/ 173 w 1047"/>
                <a:gd name="T45" fmla="*/ 1599 h 1747"/>
                <a:gd name="T46" fmla="*/ 267 w 1047"/>
                <a:gd name="T47" fmla="*/ 1642 h 1747"/>
                <a:gd name="T48" fmla="*/ 280 w 1047"/>
                <a:gd name="T49" fmla="*/ 1701 h 1747"/>
                <a:gd name="T50" fmla="*/ 520 w 1047"/>
                <a:gd name="T51" fmla="*/ 1741 h 1747"/>
                <a:gd name="T52" fmla="*/ 723 w 1047"/>
                <a:gd name="T53" fmla="*/ 1681 h 1747"/>
                <a:gd name="T54" fmla="*/ 777 w 1047"/>
                <a:gd name="T55" fmla="*/ 1642 h 1747"/>
                <a:gd name="T56" fmla="*/ 820 w 1047"/>
                <a:gd name="T57" fmla="*/ 1528 h 1747"/>
                <a:gd name="T58" fmla="*/ 820 w 1047"/>
                <a:gd name="T59" fmla="*/ 1486 h 1747"/>
                <a:gd name="T60" fmla="*/ 815 w 1047"/>
                <a:gd name="T61" fmla="*/ 1397 h 1747"/>
                <a:gd name="T62" fmla="*/ 820 w 1047"/>
                <a:gd name="T63" fmla="*/ 1288 h 1747"/>
                <a:gd name="T64" fmla="*/ 369 w 1047"/>
                <a:gd name="T65" fmla="*/ 1419 h 1747"/>
                <a:gd name="T66" fmla="*/ 373 w 1047"/>
                <a:gd name="T67" fmla="*/ 1485 h 1747"/>
                <a:gd name="T68" fmla="*/ 217 w 1047"/>
                <a:gd name="T69" fmla="*/ 1419 h 1747"/>
                <a:gd name="T70" fmla="*/ 497 w 1047"/>
                <a:gd name="T71" fmla="*/ 1696 h 1747"/>
                <a:gd name="T72" fmla="*/ 311 w 1047"/>
                <a:gd name="T73" fmla="*/ 1667 h 1747"/>
                <a:gd name="T74" fmla="*/ 679 w 1047"/>
                <a:gd name="T75" fmla="*/ 1642 h 1747"/>
                <a:gd name="T76" fmla="*/ 776 w 1047"/>
                <a:gd name="T77" fmla="*/ 1598 h 1747"/>
                <a:gd name="T78" fmla="*/ 217 w 1047"/>
                <a:gd name="T79" fmla="*/ 1529 h 1747"/>
                <a:gd name="T80" fmla="*/ 497 w 1047"/>
                <a:gd name="T81" fmla="*/ 1574 h 1747"/>
                <a:gd name="T82" fmla="*/ 776 w 1047"/>
                <a:gd name="T83" fmla="*/ 1529 h 1747"/>
                <a:gd name="T84" fmla="*/ 543 w 1047"/>
                <a:gd name="T85" fmla="*/ 1412 h 1747"/>
                <a:gd name="T86" fmla="*/ 544 w 1047"/>
                <a:gd name="T87" fmla="*/ 1412 h 1747"/>
                <a:gd name="T88" fmla="*/ 549 w 1047"/>
                <a:gd name="T89" fmla="*/ 1416 h 1747"/>
                <a:gd name="T90" fmla="*/ 483 w 1047"/>
                <a:gd name="T91" fmla="*/ 1539 h 1747"/>
                <a:gd name="T92" fmla="*/ 477 w 1047"/>
                <a:gd name="T93" fmla="*/ 1541 h 1747"/>
                <a:gd name="T94" fmla="*/ 486 w 1047"/>
                <a:gd name="T95" fmla="*/ 1467 h 1747"/>
                <a:gd name="T96" fmla="*/ 449 w 1047"/>
                <a:gd name="T97" fmla="*/ 1476 h 1747"/>
                <a:gd name="T98" fmla="*/ 445 w 1047"/>
                <a:gd name="T99" fmla="*/ 1470 h 1747"/>
                <a:gd name="T100" fmla="*/ 514 w 1047"/>
                <a:gd name="T101" fmla="*/ 1347 h 1747"/>
                <a:gd name="T102" fmla="*/ 519 w 1047"/>
                <a:gd name="T103" fmla="*/ 1352 h 1747"/>
                <a:gd name="T104" fmla="*/ 543 w 1047"/>
                <a:gd name="T105" fmla="*/ 1412 h 1747"/>
                <a:gd name="T106" fmla="*/ 620 w 1047"/>
                <a:gd name="T107" fmla="*/ 1485 h 1747"/>
                <a:gd name="T108" fmla="*/ 624 w 1047"/>
                <a:gd name="T109" fmla="*/ 1419 h 1747"/>
                <a:gd name="T110" fmla="*/ 776 w 1047"/>
                <a:gd name="T111" fmla="*/ 1485 h 1747"/>
                <a:gd name="T112" fmla="*/ 606 w 1047"/>
                <a:gd name="T113" fmla="*/ 1375 h 1747"/>
                <a:gd name="T114" fmla="*/ 387 w 1047"/>
                <a:gd name="T115" fmla="*/ 1375 h 1747"/>
                <a:gd name="T116" fmla="*/ 217 w 1047"/>
                <a:gd name="T117" fmla="*/ 1289 h 1747"/>
                <a:gd name="T118" fmla="*/ 776 w 1047"/>
                <a:gd name="T119" fmla="*/ 1375 h 1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47" h="1747">
                  <a:moveTo>
                    <a:pt x="52" y="673"/>
                  </a:moveTo>
                  <a:cubicBezTo>
                    <a:pt x="23" y="673"/>
                    <a:pt x="0" y="696"/>
                    <a:pt x="0" y="725"/>
                  </a:cubicBezTo>
                  <a:cubicBezTo>
                    <a:pt x="0" y="754"/>
                    <a:pt x="23" y="777"/>
                    <a:pt x="52" y="777"/>
                  </a:cubicBezTo>
                  <a:cubicBezTo>
                    <a:pt x="80" y="777"/>
                    <a:pt x="104" y="754"/>
                    <a:pt x="104" y="725"/>
                  </a:cubicBezTo>
                  <a:cubicBezTo>
                    <a:pt x="104" y="696"/>
                    <a:pt x="80" y="673"/>
                    <a:pt x="52" y="673"/>
                  </a:cubicBezTo>
                  <a:close/>
                  <a:moveTo>
                    <a:pt x="701" y="0"/>
                  </a:moveTo>
                  <a:cubicBezTo>
                    <a:pt x="673" y="0"/>
                    <a:pt x="649" y="23"/>
                    <a:pt x="649" y="52"/>
                  </a:cubicBezTo>
                  <a:cubicBezTo>
                    <a:pt x="649" y="80"/>
                    <a:pt x="673" y="104"/>
                    <a:pt x="701" y="104"/>
                  </a:cubicBezTo>
                  <a:cubicBezTo>
                    <a:pt x="730" y="104"/>
                    <a:pt x="753" y="80"/>
                    <a:pt x="753" y="52"/>
                  </a:cubicBezTo>
                  <a:cubicBezTo>
                    <a:pt x="753" y="23"/>
                    <a:pt x="730" y="0"/>
                    <a:pt x="701" y="0"/>
                  </a:cubicBezTo>
                  <a:close/>
                  <a:moveTo>
                    <a:pt x="995" y="504"/>
                  </a:moveTo>
                  <a:cubicBezTo>
                    <a:pt x="966" y="504"/>
                    <a:pt x="943" y="527"/>
                    <a:pt x="943" y="556"/>
                  </a:cubicBezTo>
                  <a:cubicBezTo>
                    <a:pt x="943" y="584"/>
                    <a:pt x="966" y="608"/>
                    <a:pt x="995" y="608"/>
                  </a:cubicBezTo>
                  <a:cubicBezTo>
                    <a:pt x="1023" y="608"/>
                    <a:pt x="1047" y="584"/>
                    <a:pt x="1047" y="556"/>
                  </a:cubicBezTo>
                  <a:cubicBezTo>
                    <a:pt x="1047" y="527"/>
                    <a:pt x="1023" y="504"/>
                    <a:pt x="995" y="504"/>
                  </a:cubicBezTo>
                  <a:close/>
                  <a:moveTo>
                    <a:pt x="237" y="229"/>
                  </a:moveTo>
                  <a:cubicBezTo>
                    <a:pt x="208" y="229"/>
                    <a:pt x="185" y="253"/>
                    <a:pt x="185" y="281"/>
                  </a:cubicBezTo>
                  <a:cubicBezTo>
                    <a:pt x="185" y="310"/>
                    <a:pt x="208" y="333"/>
                    <a:pt x="237" y="333"/>
                  </a:cubicBezTo>
                  <a:cubicBezTo>
                    <a:pt x="265" y="333"/>
                    <a:pt x="289" y="310"/>
                    <a:pt x="289" y="281"/>
                  </a:cubicBezTo>
                  <a:cubicBezTo>
                    <a:pt x="289" y="253"/>
                    <a:pt x="265" y="229"/>
                    <a:pt x="237" y="229"/>
                  </a:cubicBezTo>
                  <a:close/>
                  <a:moveTo>
                    <a:pt x="409" y="815"/>
                  </a:moveTo>
                  <a:cubicBezTo>
                    <a:pt x="381" y="815"/>
                    <a:pt x="357" y="838"/>
                    <a:pt x="357" y="867"/>
                  </a:cubicBezTo>
                  <a:cubicBezTo>
                    <a:pt x="357" y="896"/>
                    <a:pt x="381" y="919"/>
                    <a:pt x="409" y="919"/>
                  </a:cubicBezTo>
                  <a:cubicBezTo>
                    <a:pt x="438" y="919"/>
                    <a:pt x="461" y="896"/>
                    <a:pt x="461" y="867"/>
                  </a:cubicBezTo>
                  <a:cubicBezTo>
                    <a:pt x="461" y="838"/>
                    <a:pt x="438" y="815"/>
                    <a:pt x="409" y="815"/>
                  </a:cubicBezTo>
                  <a:close/>
                  <a:moveTo>
                    <a:pt x="743" y="1015"/>
                  </a:moveTo>
                  <a:cubicBezTo>
                    <a:pt x="715" y="1015"/>
                    <a:pt x="691" y="1038"/>
                    <a:pt x="691" y="1067"/>
                  </a:cubicBezTo>
                  <a:cubicBezTo>
                    <a:pt x="691" y="1096"/>
                    <a:pt x="715" y="1119"/>
                    <a:pt x="743" y="1119"/>
                  </a:cubicBezTo>
                  <a:cubicBezTo>
                    <a:pt x="772" y="1119"/>
                    <a:pt x="795" y="1096"/>
                    <a:pt x="795" y="1067"/>
                  </a:cubicBezTo>
                  <a:cubicBezTo>
                    <a:pt x="795" y="1038"/>
                    <a:pt x="772" y="1015"/>
                    <a:pt x="743" y="1015"/>
                  </a:cubicBezTo>
                  <a:close/>
                  <a:moveTo>
                    <a:pt x="615" y="430"/>
                  </a:moveTo>
                  <a:cubicBezTo>
                    <a:pt x="587" y="430"/>
                    <a:pt x="563" y="453"/>
                    <a:pt x="563" y="482"/>
                  </a:cubicBezTo>
                  <a:cubicBezTo>
                    <a:pt x="563" y="510"/>
                    <a:pt x="587" y="534"/>
                    <a:pt x="615" y="534"/>
                  </a:cubicBezTo>
                  <a:cubicBezTo>
                    <a:pt x="644" y="534"/>
                    <a:pt x="667" y="510"/>
                    <a:pt x="667" y="482"/>
                  </a:cubicBezTo>
                  <a:cubicBezTo>
                    <a:pt x="667" y="453"/>
                    <a:pt x="644" y="430"/>
                    <a:pt x="615" y="430"/>
                  </a:cubicBezTo>
                  <a:close/>
                  <a:moveTo>
                    <a:pt x="820" y="1288"/>
                  </a:moveTo>
                  <a:cubicBezTo>
                    <a:pt x="820" y="1264"/>
                    <a:pt x="801" y="1245"/>
                    <a:pt x="777" y="1245"/>
                  </a:cubicBezTo>
                  <a:cubicBezTo>
                    <a:pt x="216" y="1245"/>
                    <a:pt x="216" y="1245"/>
                    <a:pt x="216" y="1245"/>
                  </a:cubicBezTo>
                  <a:cubicBezTo>
                    <a:pt x="192" y="1245"/>
                    <a:pt x="173" y="1264"/>
                    <a:pt x="173" y="1288"/>
                  </a:cubicBezTo>
                  <a:cubicBezTo>
                    <a:pt x="173" y="1376"/>
                    <a:pt x="173" y="1376"/>
                    <a:pt x="173" y="1376"/>
                  </a:cubicBezTo>
                  <a:cubicBezTo>
                    <a:pt x="173" y="1384"/>
                    <a:pt x="175" y="1391"/>
                    <a:pt x="179" y="1397"/>
                  </a:cubicBezTo>
                  <a:cubicBezTo>
                    <a:pt x="175" y="1403"/>
                    <a:pt x="173" y="1410"/>
                    <a:pt x="173" y="1418"/>
                  </a:cubicBezTo>
                  <a:cubicBezTo>
                    <a:pt x="173" y="1486"/>
                    <a:pt x="173" y="1486"/>
                    <a:pt x="173" y="1486"/>
                  </a:cubicBezTo>
                  <a:cubicBezTo>
                    <a:pt x="173" y="1493"/>
                    <a:pt x="175" y="1500"/>
                    <a:pt x="179" y="1507"/>
                  </a:cubicBezTo>
                  <a:cubicBezTo>
                    <a:pt x="175" y="1513"/>
                    <a:pt x="173" y="1520"/>
                    <a:pt x="173" y="1528"/>
                  </a:cubicBezTo>
                  <a:cubicBezTo>
                    <a:pt x="173" y="1599"/>
                    <a:pt x="173" y="1599"/>
                    <a:pt x="173" y="1599"/>
                  </a:cubicBezTo>
                  <a:cubicBezTo>
                    <a:pt x="173" y="1623"/>
                    <a:pt x="192" y="1642"/>
                    <a:pt x="216" y="1642"/>
                  </a:cubicBezTo>
                  <a:cubicBezTo>
                    <a:pt x="267" y="1642"/>
                    <a:pt x="267" y="1642"/>
                    <a:pt x="267" y="1642"/>
                  </a:cubicBezTo>
                  <a:cubicBezTo>
                    <a:pt x="267" y="1681"/>
                    <a:pt x="267" y="1681"/>
                    <a:pt x="267" y="1681"/>
                  </a:cubicBezTo>
                  <a:cubicBezTo>
                    <a:pt x="267" y="1690"/>
                    <a:pt x="272" y="1698"/>
                    <a:pt x="280" y="1701"/>
                  </a:cubicBezTo>
                  <a:cubicBezTo>
                    <a:pt x="383" y="1747"/>
                    <a:pt x="479" y="1741"/>
                    <a:pt x="495" y="1740"/>
                  </a:cubicBezTo>
                  <a:cubicBezTo>
                    <a:pt x="499" y="1741"/>
                    <a:pt x="508" y="1741"/>
                    <a:pt x="520" y="1741"/>
                  </a:cubicBezTo>
                  <a:cubicBezTo>
                    <a:pt x="558" y="1741"/>
                    <a:pt x="632" y="1736"/>
                    <a:pt x="710" y="1701"/>
                  </a:cubicBezTo>
                  <a:cubicBezTo>
                    <a:pt x="718" y="1698"/>
                    <a:pt x="723" y="1690"/>
                    <a:pt x="723" y="1681"/>
                  </a:cubicBezTo>
                  <a:cubicBezTo>
                    <a:pt x="723" y="1642"/>
                    <a:pt x="723" y="1642"/>
                    <a:pt x="723" y="1642"/>
                  </a:cubicBezTo>
                  <a:cubicBezTo>
                    <a:pt x="777" y="1642"/>
                    <a:pt x="777" y="1642"/>
                    <a:pt x="777" y="1642"/>
                  </a:cubicBezTo>
                  <a:cubicBezTo>
                    <a:pt x="801" y="1642"/>
                    <a:pt x="820" y="1623"/>
                    <a:pt x="820" y="1599"/>
                  </a:cubicBezTo>
                  <a:cubicBezTo>
                    <a:pt x="820" y="1528"/>
                    <a:pt x="820" y="1528"/>
                    <a:pt x="820" y="1528"/>
                  </a:cubicBezTo>
                  <a:cubicBezTo>
                    <a:pt x="820" y="1520"/>
                    <a:pt x="818" y="1513"/>
                    <a:pt x="815" y="1507"/>
                  </a:cubicBezTo>
                  <a:cubicBezTo>
                    <a:pt x="818" y="1500"/>
                    <a:pt x="820" y="1493"/>
                    <a:pt x="820" y="1486"/>
                  </a:cubicBezTo>
                  <a:cubicBezTo>
                    <a:pt x="820" y="1418"/>
                    <a:pt x="820" y="1418"/>
                    <a:pt x="820" y="1418"/>
                  </a:cubicBezTo>
                  <a:cubicBezTo>
                    <a:pt x="820" y="1410"/>
                    <a:pt x="818" y="1403"/>
                    <a:pt x="815" y="1397"/>
                  </a:cubicBezTo>
                  <a:cubicBezTo>
                    <a:pt x="818" y="1391"/>
                    <a:pt x="820" y="1384"/>
                    <a:pt x="820" y="1376"/>
                  </a:cubicBezTo>
                  <a:lnTo>
                    <a:pt x="820" y="1288"/>
                  </a:lnTo>
                  <a:close/>
                  <a:moveTo>
                    <a:pt x="217" y="1419"/>
                  </a:moveTo>
                  <a:cubicBezTo>
                    <a:pt x="369" y="1419"/>
                    <a:pt x="369" y="1419"/>
                    <a:pt x="369" y="1419"/>
                  </a:cubicBezTo>
                  <a:cubicBezTo>
                    <a:pt x="368" y="1427"/>
                    <a:pt x="367" y="1436"/>
                    <a:pt x="367" y="1444"/>
                  </a:cubicBezTo>
                  <a:cubicBezTo>
                    <a:pt x="367" y="1458"/>
                    <a:pt x="369" y="1472"/>
                    <a:pt x="373" y="1485"/>
                  </a:cubicBezTo>
                  <a:cubicBezTo>
                    <a:pt x="217" y="1485"/>
                    <a:pt x="217" y="1485"/>
                    <a:pt x="217" y="1485"/>
                  </a:cubicBezTo>
                  <a:lnTo>
                    <a:pt x="217" y="1419"/>
                  </a:lnTo>
                  <a:close/>
                  <a:moveTo>
                    <a:pt x="679" y="1667"/>
                  </a:moveTo>
                  <a:cubicBezTo>
                    <a:pt x="584" y="1704"/>
                    <a:pt x="498" y="1696"/>
                    <a:pt x="497" y="1696"/>
                  </a:cubicBezTo>
                  <a:cubicBezTo>
                    <a:pt x="496" y="1696"/>
                    <a:pt x="494" y="1696"/>
                    <a:pt x="493" y="1696"/>
                  </a:cubicBezTo>
                  <a:cubicBezTo>
                    <a:pt x="492" y="1696"/>
                    <a:pt x="406" y="1704"/>
                    <a:pt x="311" y="1667"/>
                  </a:cubicBezTo>
                  <a:cubicBezTo>
                    <a:pt x="311" y="1642"/>
                    <a:pt x="311" y="1642"/>
                    <a:pt x="311" y="1642"/>
                  </a:cubicBezTo>
                  <a:cubicBezTo>
                    <a:pt x="679" y="1642"/>
                    <a:pt x="679" y="1642"/>
                    <a:pt x="679" y="1642"/>
                  </a:cubicBezTo>
                  <a:lnTo>
                    <a:pt x="679" y="1667"/>
                  </a:lnTo>
                  <a:close/>
                  <a:moveTo>
                    <a:pt x="776" y="1598"/>
                  </a:moveTo>
                  <a:cubicBezTo>
                    <a:pt x="217" y="1598"/>
                    <a:pt x="217" y="1598"/>
                    <a:pt x="217" y="1598"/>
                  </a:cubicBezTo>
                  <a:cubicBezTo>
                    <a:pt x="217" y="1529"/>
                    <a:pt x="217" y="1529"/>
                    <a:pt x="217" y="1529"/>
                  </a:cubicBezTo>
                  <a:cubicBezTo>
                    <a:pt x="398" y="1529"/>
                    <a:pt x="398" y="1529"/>
                    <a:pt x="398" y="1529"/>
                  </a:cubicBezTo>
                  <a:cubicBezTo>
                    <a:pt x="422" y="1556"/>
                    <a:pt x="457" y="1574"/>
                    <a:pt x="497" y="1574"/>
                  </a:cubicBezTo>
                  <a:cubicBezTo>
                    <a:pt x="536" y="1574"/>
                    <a:pt x="571" y="1556"/>
                    <a:pt x="595" y="1529"/>
                  </a:cubicBezTo>
                  <a:cubicBezTo>
                    <a:pt x="776" y="1529"/>
                    <a:pt x="776" y="1529"/>
                    <a:pt x="776" y="1529"/>
                  </a:cubicBezTo>
                  <a:lnTo>
                    <a:pt x="776" y="1598"/>
                  </a:lnTo>
                  <a:close/>
                  <a:moveTo>
                    <a:pt x="543" y="1412"/>
                  </a:moveTo>
                  <a:cubicBezTo>
                    <a:pt x="543" y="1412"/>
                    <a:pt x="544" y="1412"/>
                    <a:pt x="544" y="1412"/>
                  </a:cubicBezTo>
                  <a:cubicBezTo>
                    <a:pt x="544" y="1412"/>
                    <a:pt x="544" y="1412"/>
                    <a:pt x="544" y="1412"/>
                  </a:cubicBezTo>
                  <a:cubicBezTo>
                    <a:pt x="544" y="1412"/>
                    <a:pt x="544" y="1412"/>
                    <a:pt x="544" y="1412"/>
                  </a:cubicBezTo>
                  <a:cubicBezTo>
                    <a:pt x="547" y="1412"/>
                    <a:pt x="549" y="1414"/>
                    <a:pt x="549" y="1416"/>
                  </a:cubicBezTo>
                  <a:cubicBezTo>
                    <a:pt x="549" y="1417"/>
                    <a:pt x="549" y="1418"/>
                    <a:pt x="548" y="1419"/>
                  </a:cubicBezTo>
                  <a:cubicBezTo>
                    <a:pt x="483" y="1539"/>
                    <a:pt x="483" y="1539"/>
                    <a:pt x="483" y="1539"/>
                  </a:cubicBezTo>
                  <a:cubicBezTo>
                    <a:pt x="482" y="1541"/>
                    <a:pt x="480" y="1542"/>
                    <a:pt x="479" y="1542"/>
                  </a:cubicBezTo>
                  <a:cubicBezTo>
                    <a:pt x="478" y="1542"/>
                    <a:pt x="478" y="1541"/>
                    <a:pt x="477" y="1541"/>
                  </a:cubicBezTo>
                  <a:cubicBezTo>
                    <a:pt x="475" y="1541"/>
                    <a:pt x="474" y="1538"/>
                    <a:pt x="474" y="1536"/>
                  </a:cubicBezTo>
                  <a:cubicBezTo>
                    <a:pt x="486" y="1467"/>
                    <a:pt x="486" y="1467"/>
                    <a:pt x="486" y="1467"/>
                  </a:cubicBezTo>
                  <a:cubicBezTo>
                    <a:pt x="450" y="1476"/>
                    <a:pt x="450" y="1476"/>
                    <a:pt x="450" y="1476"/>
                  </a:cubicBezTo>
                  <a:cubicBezTo>
                    <a:pt x="450" y="1476"/>
                    <a:pt x="449" y="1476"/>
                    <a:pt x="449" y="1476"/>
                  </a:cubicBezTo>
                  <a:cubicBezTo>
                    <a:pt x="448" y="1476"/>
                    <a:pt x="446" y="1476"/>
                    <a:pt x="445" y="1475"/>
                  </a:cubicBezTo>
                  <a:cubicBezTo>
                    <a:pt x="444" y="1473"/>
                    <a:pt x="444" y="1471"/>
                    <a:pt x="445" y="1470"/>
                  </a:cubicBezTo>
                  <a:cubicBezTo>
                    <a:pt x="510" y="1349"/>
                    <a:pt x="510" y="1349"/>
                    <a:pt x="510" y="1349"/>
                  </a:cubicBezTo>
                  <a:cubicBezTo>
                    <a:pt x="511" y="1347"/>
                    <a:pt x="513" y="1347"/>
                    <a:pt x="514" y="1347"/>
                  </a:cubicBezTo>
                  <a:cubicBezTo>
                    <a:pt x="515" y="1347"/>
                    <a:pt x="515" y="1347"/>
                    <a:pt x="516" y="1347"/>
                  </a:cubicBezTo>
                  <a:cubicBezTo>
                    <a:pt x="518" y="1348"/>
                    <a:pt x="519" y="1350"/>
                    <a:pt x="519" y="1352"/>
                  </a:cubicBezTo>
                  <a:cubicBezTo>
                    <a:pt x="508" y="1422"/>
                    <a:pt x="508" y="1422"/>
                    <a:pt x="508" y="1422"/>
                  </a:cubicBezTo>
                  <a:lnTo>
                    <a:pt x="543" y="1412"/>
                  </a:lnTo>
                  <a:close/>
                  <a:moveTo>
                    <a:pt x="776" y="1485"/>
                  </a:moveTo>
                  <a:cubicBezTo>
                    <a:pt x="620" y="1485"/>
                    <a:pt x="620" y="1485"/>
                    <a:pt x="620" y="1485"/>
                  </a:cubicBezTo>
                  <a:cubicBezTo>
                    <a:pt x="624" y="1472"/>
                    <a:pt x="626" y="1458"/>
                    <a:pt x="626" y="1444"/>
                  </a:cubicBezTo>
                  <a:cubicBezTo>
                    <a:pt x="626" y="1436"/>
                    <a:pt x="625" y="1427"/>
                    <a:pt x="624" y="1419"/>
                  </a:cubicBezTo>
                  <a:cubicBezTo>
                    <a:pt x="776" y="1419"/>
                    <a:pt x="776" y="1419"/>
                    <a:pt x="776" y="1419"/>
                  </a:cubicBezTo>
                  <a:lnTo>
                    <a:pt x="776" y="1485"/>
                  </a:lnTo>
                  <a:close/>
                  <a:moveTo>
                    <a:pt x="776" y="1375"/>
                  </a:moveTo>
                  <a:cubicBezTo>
                    <a:pt x="606" y="1375"/>
                    <a:pt x="606" y="1375"/>
                    <a:pt x="606" y="1375"/>
                  </a:cubicBezTo>
                  <a:cubicBezTo>
                    <a:pt x="583" y="1339"/>
                    <a:pt x="543" y="1314"/>
                    <a:pt x="497" y="1314"/>
                  </a:cubicBezTo>
                  <a:cubicBezTo>
                    <a:pt x="450" y="1314"/>
                    <a:pt x="410" y="1339"/>
                    <a:pt x="387" y="1375"/>
                  </a:cubicBezTo>
                  <a:cubicBezTo>
                    <a:pt x="217" y="1375"/>
                    <a:pt x="217" y="1375"/>
                    <a:pt x="217" y="1375"/>
                  </a:cubicBezTo>
                  <a:cubicBezTo>
                    <a:pt x="217" y="1289"/>
                    <a:pt x="217" y="1289"/>
                    <a:pt x="217" y="1289"/>
                  </a:cubicBezTo>
                  <a:cubicBezTo>
                    <a:pt x="776" y="1289"/>
                    <a:pt x="776" y="1289"/>
                    <a:pt x="776" y="1289"/>
                  </a:cubicBezTo>
                  <a:lnTo>
                    <a:pt x="776" y="137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7" name="bcgIcons_DesignPencilRuler">
            <a:extLst>
              <a:ext uri="{FF2B5EF4-FFF2-40B4-BE49-F238E27FC236}">
                <a16:creationId xmlns:a16="http://schemas.microsoft.com/office/drawing/2014/main" id="{7E3944E4-5053-F61A-C4DE-EB13FD9EF7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6385" y="3430949"/>
            <a:ext cx="719333" cy="720000"/>
            <a:chOff x="1682" y="0"/>
            <a:chExt cx="4316" cy="4320"/>
          </a:xfrm>
        </p:grpSpPr>
        <p:sp>
          <p:nvSpPr>
            <p:cNvPr id="28" name="AutoShape 13">
              <a:extLst>
                <a:ext uri="{FF2B5EF4-FFF2-40B4-BE49-F238E27FC236}">
                  <a16:creationId xmlns:a16="http://schemas.microsoft.com/office/drawing/2014/main" id="{65E3E7D9-7C1C-3637-64AA-5949CC15C7D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38399AAF-8C5E-338D-DA4D-46A8EB8D79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1" y="630"/>
              <a:ext cx="2936" cy="2944"/>
            </a:xfrm>
            <a:custGeom>
              <a:avLst/>
              <a:gdLst>
                <a:gd name="T0" fmla="*/ 1372 w 1567"/>
                <a:gd name="T1" fmla="*/ 436 h 1570"/>
                <a:gd name="T2" fmla="*/ 1369 w 1567"/>
                <a:gd name="T3" fmla="*/ 439 h 1570"/>
                <a:gd name="T4" fmla="*/ 445 w 1567"/>
                <a:gd name="T5" fmla="*/ 1363 h 1570"/>
                <a:gd name="T6" fmla="*/ 439 w 1567"/>
                <a:gd name="T7" fmla="*/ 1367 h 1570"/>
                <a:gd name="T8" fmla="*/ 34 w 1567"/>
                <a:gd name="T9" fmla="*/ 1567 h 1570"/>
                <a:gd name="T10" fmla="*/ 24 w 1567"/>
                <a:gd name="T11" fmla="*/ 1570 h 1570"/>
                <a:gd name="T12" fmla="*/ 8 w 1567"/>
                <a:gd name="T13" fmla="*/ 1563 h 1570"/>
                <a:gd name="T14" fmla="*/ 4 w 1567"/>
                <a:gd name="T15" fmla="*/ 1538 h 1570"/>
                <a:gd name="T16" fmla="*/ 202 w 1567"/>
                <a:gd name="T17" fmla="*/ 1130 h 1570"/>
                <a:gd name="T18" fmla="*/ 206 w 1567"/>
                <a:gd name="T19" fmla="*/ 1124 h 1570"/>
                <a:gd name="T20" fmla="*/ 1130 w 1567"/>
                <a:gd name="T21" fmla="*/ 200 h 1570"/>
                <a:gd name="T22" fmla="*/ 1133 w 1567"/>
                <a:gd name="T23" fmla="*/ 197 h 1570"/>
                <a:gd name="T24" fmla="*/ 1164 w 1567"/>
                <a:gd name="T25" fmla="*/ 228 h 1570"/>
                <a:gd name="T26" fmla="*/ 1161 w 1567"/>
                <a:gd name="T27" fmla="*/ 231 h 1570"/>
                <a:gd name="T28" fmla="*/ 240 w 1567"/>
                <a:gd name="T29" fmla="*/ 1152 h 1570"/>
                <a:gd name="T30" fmla="*/ 118 w 1567"/>
                <a:gd name="T31" fmla="*/ 1405 h 1570"/>
                <a:gd name="T32" fmla="*/ 165 w 1567"/>
                <a:gd name="T33" fmla="*/ 1453 h 1570"/>
                <a:gd name="T34" fmla="*/ 417 w 1567"/>
                <a:gd name="T35" fmla="*/ 1329 h 1570"/>
                <a:gd name="T36" fmla="*/ 1338 w 1567"/>
                <a:gd name="T37" fmla="*/ 408 h 1570"/>
                <a:gd name="T38" fmla="*/ 1341 w 1567"/>
                <a:gd name="T39" fmla="*/ 405 h 1570"/>
                <a:gd name="T40" fmla="*/ 1372 w 1567"/>
                <a:gd name="T41" fmla="*/ 436 h 1570"/>
                <a:gd name="T42" fmla="*/ 1556 w 1567"/>
                <a:gd name="T43" fmla="*/ 218 h 1570"/>
                <a:gd name="T44" fmla="*/ 1349 w 1567"/>
                <a:gd name="T45" fmla="*/ 11 h 1570"/>
                <a:gd name="T46" fmla="*/ 1310 w 1567"/>
                <a:gd name="T47" fmla="*/ 11 h 1570"/>
                <a:gd name="T48" fmla="*/ 1160 w 1567"/>
                <a:gd name="T49" fmla="*/ 161 h 1570"/>
                <a:gd name="T50" fmla="*/ 1406 w 1567"/>
                <a:gd name="T51" fmla="*/ 407 h 1570"/>
                <a:gd name="T52" fmla="*/ 1556 w 1567"/>
                <a:gd name="T53" fmla="*/ 257 h 1570"/>
                <a:gd name="T54" fmla="*/ 1556 w 1567"/>
                <a:gd name="T55" fmla="*/ 218 h 1570"/>
                <a:gd name="T56" fmla="*/ 477 w 1567"/>
                <a:gd name="T57" fmla="*/ 793 h 1570"/>
                <a:gd name="T58" fmla="*/ 508 w 1567"/>
                <a:gd name="T59" fmla="*/ 762 h 1570"/>
                <a:gd name="T60" fmla="*/ 60 w 1567"/>
                <a:gd name="T61" fmla="*/ 314 h 1570"/>
                <a:gd name="T62" fmla="*/ 317 w 1567"/>
                <a:gd name="T63" fmla="*/ 57 h 1570"/>
                <a:gd name="T64" fmla="*/ 765 w 1567"/>
                <a:gd name="T65" fmla="*/ 506 h 1570"/>
                <a:gd name="T66" fmla="*/ 796 w 1567"/>
                <a:gd name="T67" fmla="*/ 474 h 1570"/>
                <a:gd name="T68" fmla="*/ 333 w 1567"/>
                <a:gd name="T69" fmla="*/ 11 h 1570"/>
                <a:gd name="T70" fmla="*/ 302 w 1567"/>
                <a:gd name="T71" fmla="*/ 11 h 1570"/>
                <a:gd name="T72" fmla="*/ 14 w 1567"/>
                <a:gd name="T73" fmla="*/ 299 h 1570"/>
                <a:gd name="T74" fmla="*/ 7 w 1567"/>
                <a:gd name="T75" fmla="*/ 314 h 1570"/>
                <a:gd name="T76" fmla="*/ 14 w 1567"/>
                <a:gd name="T77" fmla="*/ 330 h 1570"/>
                <a:gd name="T78" fmla="*/ 477 w 1567"/>
                <a:gd name="T79" fmla="*/ 793 h 1570"/>
                <a:gd name="T80" fmla="*/ 1558 w 1567"/>
                <a:gd name="T81" fmla="*/ 1237 h 1570"/>
                <a:gd name="T82" fmla="*/ 1095 w 1567"/>
                <a:gd name="T83" fmla="*/ 773 h 1570"/>
                <a:gd name="T84" fmla="*/ 1063 w 1567"/>
                <a:gd name="T85" fmla="*/ 804 h 1570"/>
                <a:gd name="T86" fmla="*/ 1512 w 1567"/>
                <a:gd name="T87" fmla="*/ 1252 h 1570"/>
                <a:gd name="T88" fmla="*/ 1255 w 1567"/>
                <a:gd name="T89" fmla="*/ 1509 h 1570"/>
                <a:gd name="T90" fmla="*/ 807 w 1567"/>
                <a:gd name="T91" fmla="*/ 1061 h 1570"/>
                <a:gd name="T92" fmla="*/ 776 w 1567"/>
                <a:gd name="T93" fmla="*/ 1092 h 1570"/>
                <a:gd name="T94" fmla="*/ 1239 w 1567"/>
                <a:gd name="T95" fmla="*/ 1556 h 1570"/>
                <a:gd name="T96" fmla="*/ 1255 w 1567"/>
                <a:gd name="T97" fmla="*/ 1562 h 1570"/>
                <a:gd name="T98" fmla="*/ 1271 w 1567"/>
                <a:gd name="T99" fmla="*/ 1556 h 1570"/>
                <a:gd name="T100" fmla="*/ 1558 w 1567"/>
                <a:gd name="T101" fmla="*/ 1268 h 1570"/>
                <a:gd name="T102" fmla="*/ 1565 w 1567"/>
                <a:gd name="T103" fmla="*/ 1252 h 1570"/>
                <a:gd name="T104" fmla="*/ 1558 w 1567"/>
                <a:gd name="T105" fmla="*/ 1237 h 1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7" h="1570">
                  <a:moveTo>
                    <a:pt x="1372" y="436"/>
                  </a:moveTo>
                  <a:cubicBezTo>
                    <a:pt x="1371" y="437"/>
                    <a:pt x="1370" y="438"/>
                    <a:pt x="1369" y="439"/>
                  </a:cubicBezTo>
                  <a:cubicBezTo>
                    <a:pt x="445" y="1363"/>
                    <a:pt x="445" y="1363"/>
                    <a:pt x="445" y="1363"/>
                  </a:cubicBezTo>
                  <a:cubicBezTo>
                    <a:pt x="444" y="1364"/>
                    <a:pt x="442" y="1366"/>
                    <a:pt x="439" y="1367"/>
                  </a:cubicBezTo>
                  <a:cubicBezTo>
                    <a:pt x="34" y="1567"/>
                    <a:pt x="34" y="1567"/>
                    <a:pt x="34" y="1567"/>
                  </a:cubicBezTo>
                  <a:cubicBezTo>
                    <a:pt x="31" y="1569"/>
                    <a:pt x="27" y="1570"/>
                    <a:pt x="24" y="1570"/>
                  </a:cubicBezTo>
                  <a:cubicBezTo>
                    <a:pt x="18" y="1570"/>
                    <a:pt x="13" y="1567"/>
                    <a:pt x="8" y="1563"/>
                  </a:cubicBezTo>
                  <a:cubicBezTo>
                    <a:pt x="2" y="1557"/>
                    <a:pt x="0" y="1546"/>
                    <a:pt x="4" y="1538"/>
                  </a:cubicBezTo>
                  <a:cubicBezTo>
                    <a:pt x="202" y="1130"/>
                    <a:pt x="202" y="1130"/>
                    <a:pt x="202" y="1130"/>
                  </a:cubicBezTo>
                  <a:cubicBezTo>
                    <a:pt x="203" y="1128"/>
                    <a:pt x="205" y="1126"/>
                    <a:pt x="206" y="1124"/>
                  </a:cubicBezTo>
                  <a:cubicBezTo>
                    <a:pt x="1130" y="200"/>
                    <a:pt x="1130" y="200"/>
                    <a:pt x="1130" y="200"/>
                  </a:cubicBezTo>
                  <a:cubicBezTo>
                    <a:pt x="1131" y="199"/>
                    <a:pt x="1132" y="198"/>
                    <a:pt x="1133" y="197"/>
                  </a:cubicBezTo>
                  <a:cubicBezTo>
                    <a:pt x="1164" y="228"/>
                    <a:pt x="1164" y="228"/>
                    <a:pt x="1164" y="228"/>
                  </a:cubicBezTo>
                  <a:cubicBezTo>
                    <a:pt x="1163" y="229"/>
                    <a:pt x="1162" y="230"/>
                    <a:pt x="1161" y="231"/>
                  </a:cubicBezTo>
                  <a:cubicBezTo>
                    <a:pt x="240" y="1152"/>
                    <a:pt x="240" y="1152"/>
                    <a:pt x="240" y="1152"/>
                  </a:cubicBezTo>
                  <a:cubicBezTo>
                    <a:pt x="118" y="1405"/>
                    <a:pt x="118" y="1405"/>
                    <a:pt x="118" y="1405"/>
                  </a:cubicBezTo>
                  <a:cubicBezTo>
                    <a:pt x="165" y="1453"/>
                    <a:pt x="165" y="1453"/>
                    <a:pt x="165" y="1453"/>
                  </a:cubicBezTo>
                  <a:cubicBezTo>
                    <a:pt x="417" y="1329"/>
                    <a:pt x="417" y="1329"/>
                    <a:pt x="417" y="1329"/>
                  </a:cubicBezTo>
                  <a:cubicBezTo>
                    <a:pt x="1338" y="408"/>
                    <a:pt x="1338" y="408"/>
                    <a:pt x="1338" y="408"/>
                  </a:cubicBezTo>
                  <a:cubicBezTo>
                    <a:pt x="1339" y="407"/>
                    <a:pt x="1340" y="406"/>
                    <a:pt x="1341" y="405"/>
                  </a:cubicBezTo>
                  <a:lnTo>
                    <a:pt x="1372" y="436"/>
                  </a:lnTo>
                  <a:close/>
                  <a:moveTo>
                    <a:pt x="1556" y="218"/>
                  </a:moveTo>
                  <a:cubicBezTo>
                    <a:pt x="1349" y="11"/>
                    <a:pt x="1349" y="11"/>
                    <a:pt x="1349" y="11"/>
                  </a:cubicBezTo>
                  <a:cubicBezTo>
                    <a:pt x="1338" y="0"/>
                    <a:pt x="1321" y="0"/>
                    <a:pt x="1310" y="11"/>
                  </a:cubicBezTo>
                  <a:cubicBezTo>
                    <a:pt x="1160" y="161"/>
                    <a:pt x="1160" y="161"/>
                    <a:pt x="1160" y="161"/>
                  </a:cubicBezTo>
                  <a:cubicBezTo>
                    <a:pt x="1406" y="407"/>
                    <a:pt x="1406" y="407"/>
                    <a:pt x="1406" y="407"/>
                  </a:cubicBezTo>
                  <a:cubicBezTo>
                    <a:pt x="1556" y="257"/>
                    <a:pt x="1556" y="257"/>
                    <a:pt x="1556" y="257"/>
                  </a:cubicBezTo>
                  <a:cubicBezTo>
                    <a:pt x="1567" y="246"/>
                    <a:pt x="1567" y="229"/>
                    <a:pt x="1556" y="218"/>
                  </a:cubicBezTo>
                  <a:close/>
                  <a:moveTo>
                    <a:pt x="477" y="793"/>
                  </a:moveTo>
                  <a:cubicBezTo>
                    <a:pt x="508" y="762"/>
                    <a:pt x="508" y="762"/>
                    <a:pt x="508" y="762"/>
                  </a:cubicBezTo>
                  <a:cubicBezTo>
                    <a:pt x="60" y="314"/>
                    <a:pt x="60" y="314"/>
                    <a:pt x="60" y="314"/>
                  </a:cubicBezTo>
                  <a:cubicBezTo>
                    <a:pt x="317" y="57"/>
                    <a:pt x="317" y="57"/>
                    <a:pt x="317" y="57"/>
                  </a:cubicBezTo>
                  <a:cubicBezTo>
                    <a:pt x="765" y="506"/>
                    <a:pt x="765" y="506"/>
                    <a:pt x="765" y="506"/>
                  </a:cubicBezTo>
                  <a:cubicBezTo>
                    <a:pt x="796" y="474"/>
                    <a:pt x="796" y="474"/>
                    <a:pt x="796" y="474"/>
                  </a:cubicBezTo>
                  <a:cubicBezTo>
                    <a:pt x="333" y="11"/>
                    <a:pt x="333" y="11"/>
                    <a:pt x="333" y="11"/>
                  </a:cubicBezTo>
                  <a:cubicBezTo>
                    <a:pt x="324" y="2"/>
                    <a:pt x="310" y="2"/>
                    <a:pt x="302" y="11"/>
                  </a:cubicBezTo>
                  <a:cubicBezTo>
                    <a:pt x="14" y="299"/>
                    <a:pt x="14" y="299"/>
                    <a:pt x="14" y="299"/>
                  </a:cubicBezTo>
                  <a:cubicBezTo>
                    <a:pt x="10" y="303"/>
                    <a:pt x="7" y="308"/>
                    <a:pt x="7" y="314"/>
                  </a:cubicBezTo>
                  <a:cubicBezTo>
                    <a:pt x="7" y="320"/>
                    <a:pt x="10" y="326"/>
                    <a:pt x="14" y="330"/>
                  </a:cubicBezTo>
                  <a:lnTo>
                    <a:pt x="477" y="793"/>
                  </a:lnTo>
                  <a:close/>
                  <a:moveTo>
                    <a:pt x="1558" y="1237"/>
                  </a:moveTo>
                  <a:cubicBezTo>
                    <a:pt x="1095" y="773"/>
                    <a:pt x="1095" y="773"/>
                    <a:pt x="1095" y="773"/>
                  </a:cubicBezTo>
                  <a:cubicBezTo>
                    <a:pt x="1063" y="804"/>
                    <a:pt x="1063" y="804"/>
                    <a:pt x="1063" y="804"/>
                  </a:cubicBezTo>
                  <a:cubicBezTo>
                    <a:pt x="1512" y="1252"/>
                    <a:pt x="1512" y="1252"/>
                    <a:pt x="1512" y="1252"/>
                  </a:cubicBezTo>
                  <a:cubicBezTo>
                    <a:pt x="1255" y="1509"/>
                    <a:pt x="1255" y="1509"/>
                    <a:pt x="1255" y="1509"/>
                  </a:cubicBezTo>
                  <a:cubicBezTo>
                    <a:pt x="807" y="1061"/>
                    <a:pt x="807" y="1061"/>
                    <a:pt x="807" y="1061"/>
                  </a:cubicBezTo>
                  <a:cubicBezTo>
                    <a:pt x="776" y="1092"/>
                    <a:pt x="776" y="1092"/>
                    <a:pt x="776" y="1092"/>
                  </a:cubicBezTo>
                  <a:cubicBezTo>
                    <a:pt x="1239" y="1556"/>
                    <a:pt x="1239" y="1556"/>
                    <a:pt x="1239" y="1556"/>
                  </a:cubicBezTo>
                  <a:cubicBezTo>
                    <a:pt x="1244" y="1560"/>
                    <a:pt x="1249" y="1562"/>
                    <a:pt x="1255" y="1562"/>
                  </a:cubicBezTo>
                  <a:cubicBezTo>
                    <a:pt x="1261" y="1562"/>
                    <a:pt x="1266" y="1560"/>
                    <a:pt x="1271" y="1556"/>
                  </a:cubicBezTo>
                  <a:cubicBezTo>
                    <a:pt x="1558" y="1268"/>
                    <a:pt x="1558" y="1268"/>
                    <a:pt x="1558" y="1268"/>
                  </a:cubicBezTo>
                  <a:cubicBezTo>
                    <a:pt x="1563" y="1263"/>
                    <a:pt x="1565" y="1258"/>
                    <a:pt x="1565" y="1252"/>
                  </a:cubicBezTo>
                  <a:cubicBezTo>
                    <a:pt x="1565" y="1246"/>
                    <a:pt x="1563" y="1241"/>
                    <a:pt x="1558" y="12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6">
              <a:extLst>
                <a:ext uri="{FF2B5EF4-FFF2-40B4-BE49-F238E27FC236}">
                  <a16:creationId xmlns:a16="http://schemas.microsoft.com/office/drawing/2014/main" id="{60CD8579-BABD-64A7-F380-F074E69B01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6" y="855"/>
              <a:ext cx="2495" cy="2498"/>
            </a:xfrm>
            <a:custGeom>
              <a:avLst/>
              <a:gdLst>
                <a:gd name="T0" fmla="*/ 543 w 2495"/>
                <a:gd name="T1" fmla="*/ 2158 h 2498"/>
                <a:gd name="T2" fmla="*/ 334 w 2495"/>
                <a:gd name="T3" fmla="*/ 1948 h 2498"/>
                <a:gd name="T4" fmla="*/ 2023 w 2495"/>
                <a:gd name="T5" fmla="*/ 255 h 2498"/>
                <a:gd name="T6" fmla="*/ 2235 w 2495"/>
                <a:gd name="T7" fmla="*/ 467 h 2498"/>
                <a:gd name="T8" fmla="*/ 543 w 2495"/>
                <a:gd name="T9" fmla="*/ 2158 h 2498"/>
                <a:gd name="T10" fmla="*/ 1150 w 2495"/>
                <a:gd name="T11" fmla="*/ 782 h 2498"/>
                <a:gd name="T12" fmla="*/ 1079 w 2495"/>
                <a:gd name="T13" fmla="*/ 709 h 2498"/>
                <a:gd name="T14" fmla="*/ 817 w 2495"/>
                <a:gd name="T15" fmla="*/ 971 h 2498"/>
                <a:gd name="T16" fmla="*/ 759 w 2495"/>
                <a:gd name="T17" fmla="*/ 913 h 2498"/>
                <a:gd name="T18" fmla="*/ 1021 w 2495"/>
                <a:gd name="T19" fmla="*/ 651 h 2498"/>
                <a:gd name="T20" fmla="*/ 940 w 2495"/>
                <a:gd name="T21" fmla="*/ 570 h 2498"/>
                <a:gd name="T22" fmla="*/ 748 w 2495"/>
                <a:gd name="T23" fmla="*/ 763 h 2498"/>
                <a:gd name="T24" fmla="*/ 689 w 2495"/>
                <a:gd name="T25" fmla="*/ 705 h 2498"/>
                <a:gd name="T26" fmla="*/ 882 w 2495"/>
                <a:gd name="T27" fmla="*/ 512 h 2498"/>
                <a:gd name="T28" fmla="*/ 800 w 2495"/>
                <a:gd name="T29" fmla="*/ 431 h 2498"/>
                <a:gd name="T30" fmla="*/ 538 w 2495"/>
                <a:gd name="T31" fmla="*/ 694 h 2498"/>
                <a:gd name="T32" fmla="*/ 480 w 2495"/>
                <a:gd name="T33" fmla="*/ 636 h 2498"/>
                <a:gd name="T34" fmla="*/ 742 w 2495"/>
                <a:gd name="T35" fmla="*/ 373 h 2498"/>
                <a:gd name="T36" fmla="*/ 661 w 2495"/>
                <a:gd name="T37" fmla="*/ 291 h 2498"/>
                <a:gd name="T38" fmla="*/ 468 w 2495"/>
                <a:gd name="T39" fmla="*/ 484 h 2498"/>
                <a:gd name="T40" fmla="*/ 410 w 2495"/>
                <a:gd name="T41" fmla="*/ 426 h 2498"/>
                <a:gd name="T42" fmla="*/ 603 w 2495"/>
                <a:gd name="T43" fmla="*/ 233 h 2498"/>
                <a:gd name="T44" fmla="*/ 523 w 2495"/>
                <a:gd name="T45" fmla="*/ 152 h 2498"/>
                <a:gd name="T46" fmla="*/ 261 w 2495"/>
                <a:gd name="T47" fmla="*/ 414 h 2498"/>
                <a:gd name="T48" fmla="*/ 201 w 2495"/>
                <a:gd name="T49" fmla="*/ 356 h 2498"/>
                <a:gd name="T50" fmla="*/ 463 w 2495"/>
                <a:gd name="T51" fmla="*/ 94 h 2498"/>
                <a:gd name="T52" fmla="*/ 369 w 2495"/>
                <a:gd name="T53" fmla="*/ 0 h 2498"/>
                <a:gd name="T54" fmla="*/ 0 w 2495"/>
                <a:gd name="T55" fmla="*/ 369 h 2498"/>
                <a:gd name="T56" fmla="*/ 781 w 2495"/>
                <a:gd name="T57" fmla="*/ 1151 h 2498"/>
                <a:gd name="T58" fmla="*/ 1150 w 2495"/>
                <a:gd name="T59" fmla="*/ 782 h 2498"/>
                <a:gd name="T60" fmla="*/ 2400 w 2495"/>
                <a:gd name="T61" fmla="*/ 2033 h 2498"/>
                <a:gd name="T62" fmla="*/ 2138 w 2495"/>
                <a:gd name="T63" fmla="*/ 2295 h 2498"/>
                <a:gd name="T64" fmla="*/ 2079 w 2495"/>
                <a:gd name="T65" fmla="*/ 2237 h 2498"/>
                <a:gd name="T66" fmla="*/ 2342 w 2495"/>
                <a:gd name="T67" fmla="*/ 1974 h 2498"/>
                <a:gd name="T68" fmla="*/ 2261 w 2495"/>
                <a:gd name="T69" fmla="*/ 1892 h 2498"/>
                <a:gd name="T70" fmla="*/ 2068 w 2495"/>
                <a:gd name="T71" fmla="*/ 2085 h 2498"/>
                <a:gd name="T72" fmla="*/ 2010 w 2495"/>
                <a:gd name="T73" fmla="*/ 2027 h 2498"/>
                <a:gd name="T74" fmla="*/ 2203 w 2495"/>
                <a:gd name="T75" fmla="*/ 1834 h 2498"/>
                <a:gd name="T76" fmla="*/ 2123 w 2495"/>
                <a:gd name="T77" fmla="*/ 1753 h 2498"/>
                <a:gd name="T78" fmla="*/ 1860 w 2495"/>
                <a:gd name="T79" fmla="*/ 2016 h 2498"/>
                <a:gd name="T80" fmla="*/ 1802 w 2495"/>
                <a:gd name="T81" fmla="*/ 1958 h 2498"/>
                <a:gd name="T82" fmla="*/ 2064 w 2495"/>
                <a:gd name="T83" fmla="*/ 1695 h 2498"/>
                <a:gd name="T84" fmla="*/ 1982 w 2495"/>
                <a:gd name="T85" fmla="*/ 1614 h 2498"/>
                <a:gd name="T86" fmla="*/ 1789 w 2495"/>
                <a:gd name="T87" fmla="*/ 1808 h 2498"/>
                <a:gd name="T88" fmla="*/ 1731 w 2495"/>
                <a:gd name="T89" fmla="*/ 1748 h 2498"/>
                <a:gd name="T90" fmla="*/ 1924 w 2495"/>
                <a:gd name="T91" fmla="*/ 1554 h 2498"/>
                <a:gd name="T92" fmla="*/ 1843 w 2495"/>
                <a:gd name="T93" fmla="*/ 1474 h 2498"/>
                <a:gd name="T94" fmla="*/ 1581 w 2495"/>
                <a:gd name="T95" fmla="*/ 1736 h 2498"/>
                <a:gd name="T96" fmla="*/ 1523 w 2495"/>
                <a:gd name="T97" fmla="*/ 1678 h 2498"/>
                <a:gd name="T98" fmla="*/ 1785 w 2495"/>
                <a:gd name="T99" fmla="*/ 1416 h 2498"/>
                <a:gd name="T100" fmla="*/ 1709 w 2495"/>
                <a:gd name="T101" fmla="*/ 1341 h 2498"/>
                <a:gd name="T102" fmla="*/ 1340 w 2495"/>
                <a:gd name="T103" fmla="*/ 1710 h 2498"/>
                <a:gd name="T104" fmla="*/ 2126 w 2495"/>
                <a:gd name="T105" fmla="*/ 2498 h 2498"/>
                <a:gd name="T106" fmla="*/ 2495 w 2495"/>
                <a:gd name="T107" fmla="*/ 2128 h 2498"/>
                <a:gd name="T108" fmla="*/ 2400 w 2495"/>
                <a:gd name="T109" fmla="*/ 2033 h 2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95" h="2498">
                  <a:moveTo>
                    <a:pt x="543" y="2158"/>
                  </a:moveTo>
                  <a:lnTo>
                    <a:pt x="334" y="1948"/>
                  </a:lnTo>
                  <a:lnTo>
                    <a:pt x="2023" y="255"/>
                  </a:lnTo>
                  <a:lnTo>
                    <a:pt x="2235" y="467"/>
                  </a:lnTo>
                  <a:lnTo>
                    <a:pt x="543" y="2158"/>
                  </a:lnTo>
                  <a:close/>
                  <a:moveTo>
                    <a:pt x="1150" y="782"/>
                  </a:moveTo>
                  <a:lnTo>
                    <a:pt x="1079" y="709"/>
                  </a:lnTo>
                  <a:lnTo>
                    <a:pt x="817" y="971"/>
                  </a:lnTo>
                  <a:lnTo>
                    <a:pt x="759" y="913"/>
                  </a:lnTo>
                  <a:lnTo>
                    <a:pt x="1021" y="651"/>
                  </a:lnTo>
                  <a:lnTo>
                    <a:pt x="940" y="570"/>
                  </a:lnTo>
                  <a:lnTo>
                    <a:pt x="748" y="763"/>
                  </a:lnTo>
                  <a:lnTo>
                    <a:pt x="689" y="705"/>
                  </a:lnTo>
                  <a:lnTo>
                    <a:pt x="882" y="512"/>
                  </a:lnTo>
                  <a:lnTo>
                    <a:pt x="800" y="431"/>
                  </a:lnTo>
                  <a:lnTo>
                    <a:pt x="538" y="694"/>
                  </a:lnTo>
                  <a:lnTo>
                    <a:pt x="480" y="636"/>
                  </a:lnTo>
                  <a:lnTo>
                    <a:pt x="742" y="373"/>
                  </a:lnTo>
                  <a:lnTo>
                    <a:pt x="661" y="291"/>
                  </a:lnTo>
                  <a:lnTo>
                    <a:pt x="468" y="484"/>
                  </a:lnTo>
                  <a:lnTo>
                    <a:pt x="410" y="426"/>
                  </a:lnTo>
                  <a:lnTo>
                    <a:pt x="603" y="233"/>
                  </a:lnTo>
                  <a:lnTo>
                    <a:pt x="523" y="152"/>
                  </a:lnTo>
                  <a:lnTo>
                    <a:pt x="261" y="414"/>
                  </a:lnTo>
                  <a:lnTo>
                    <a:pt x="201" y="356"/>
                  </a:lnTo>
                  <a:lnTo>
                    <a:pt x="463" y="94"/>
                  </a:lnTo>
                  <a:lnTo>
                    <a:pt x="369" y="0"/>
                  </a:lnTo>
                  <a:lnTo>
                    <a:pt x="0" y="369"/>
                  </a:lnTo>
                  <a:lnTo>
                    <a:pt x="781" y="1151"/>
                  </a:lnTo>
                  <a:lnTo>
                    <a:pt x="1150" y="782"/>
                  </a:lnTo>
                  <a:close/>
                  <a:moveTo>
                    <a:pt x="2400" y="2033"/>
                  </a:moveTo>
                  <a:lnTo>
                    <a:pt x="2138" y="2295"/>
                  </a:lnTo>
                  <a:lnTo>
                    <a:pt x="2079" y="2237"/>
                  </a:lnTo>
                  <a:lnTo>
                    <a:pt x="2342" y="1974"/>
                  </a:lnTo>
                  <a:lnTo>
                    <a:pt x="2261" y="1892"/>
                  </a:lnTo>
                  <a:lnTo>
                    <a:pt x="2068" y="2085"/>
                  </a:lnTo>
                  <a:lnTo>
                    <a:pt x="2010" y="2027"/>
                  </a:lnTo>
                  <a:lnTo>
                    <a:pt x="2203" y="1834"/>
                  </a:lnTo>
                  <a:lnTo>
                    <a:pt x="2123" y="1753"/>
                  </a:lnTo>
                  <a:lnTo>
                    <a:pt x="1860" y="2016"/>
                  </a:lnTo>
                  <a:lnTo>
                    <a:pt x="1802" y="1958"/>
                  </a:lnTo>
                  <a:lnTo>
                    <a:pt x="2064" y="1695"/>
                  </a:lnTo>
                  <a:lnTo>
                    <a:pt x="1982" y="1614"/>
                  </a:lnTo>
                  <a:lnTo>
                    <a:pt x="1789" y="1808"/>
                  </a:lnTo>
                  <a:lnTo>
                    <a:pt x="1731" y="1748"/>
                  </a:lnTo>
                  <a:lnTo>
                    <a:pt x="1924" y="1554"/>
                  </a:lnTo>
                  <a:lnTo>
                    <a:pt x="1843" y="1474"/>
                  </a:lnTo>
                  <a:lnTo>
                    <a:pt x="1581" y="1736"/>
                  </a:lnTo>
                  <a:lnTo>
                    <a:pt x="1523" y="1678"/>
                  </a:lnTo>
                  <a:lnTo>
                    <a:pt x="1785" y="1416"/>
                  </a:lnTo>
                  <a:lnTo>
                    <a:pt x="1709" y="1341"/>
                  </a:lnTo>
                  <a:lnTo>
                    <a:pt x="1340" y="1710"/>
                  </a:lnTo>
                  <a:lnTo>
                    <a:pt x="2126" y="2498"/>
                  </a:lnTo>
                  <a:lnTo>
                    <a:pt x="2495" y="2128"/>
                  </a:lnTo>
                  <a:lnTo>
                    <a:pt x="2400" y="203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9965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59" descr="A white car parked on a road&#10;&#10;Description automatically generated with medium confidence">
            <a:extLst>
              <a:ext uri="{FF2B5EF4-FFF2-40B4-BE49-F238E27FC236}">
                <a16:creationId xmlns:a16="http://schemas.microsoft.com/office/drawing/2014/main" id="{035B8237-1742-94D6-F070-5AD04AAFE37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771" t="17622" r="15141" b="8814"/>
          <a:stretch/>
        </p:blipFill>
        <p:spPr>
          <a:xfrm>
            <a:off x="738454" y="1966692"/>
            <a:ext cx="1220400" cy="813600"/>
          </a:xfrm>
          <a:prstGeom prst="rect">
            <a:avLst/>
          </a:prstGeom>
        </p:spPr>
      </p:pic>
      <p:pic>
        <p:nvPicPr>
          <p:cNvPr id="58" name="Picture 57" descr="A white car parked on a road&#10;&#10;Description automatically generated with medium confidence">
            <a:extLst>
              <a:ext uri="{FF2B5EF4-FFF2-40B4-BE49-F238E27FC236}">
                <a16:creationId xmlns:a16="http://schemas.microsoft.com/office/drawing/2014/main" id="{A80595DB-3338-E503-2D36-40A185A59B9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aintStrokes/>
                    </a14:imgEffect>
                    <a14:imgEffect>
                      <a14:colorTemperature colorTemp="4275"/>
                    </a14:imgEffect>
                  </a14:imgLayer>
                </a14:imgProps>
              </a:ext>
            </a:extLst>
          </a:blip>
          <a:srcRect l="8409" t="-122" r="23249" b="19149"/>
          <a:stretch/>
        </p:blipFill>
        <p:spPr>
          <a:xfrm>
            <a:off x="736405" y="1971358"/>
            <a:ext cx="1222503" cy="815002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de-DE"/>
              <a:t>U</a:t>
            </a:r>
            <a:r>
              <a:rPr lang="en-US"/>
              <a:t>sing contrastive loss to train without label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5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white car parked on a road&#10;&#10;Description automatically generated with medium confidence">
            <a:extLst>
              <a:ext uri="{FF2B5EF4-FFF2-40B4-BE49-F238E27FC236}">
                <a16:creationId xmlns:a16="http://schemas.microsoft.com/office/drawing/2014/main" id="{3450491D-78A9-8D72-652C-E899021DBE8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800" r="7800"/>
          <a:stretch/>
        </p:blipFill>
        <p:spPr>
          <a:xfrm>
            <a:off x="736405" y="1979153"/>
            <a:ext cx="1222449" cy="814966"/>
          </a:xfrm>
          <a:prstGeom prst="rect">
            <a:avLst/>
          </a:prstGeom>
        </p:spPr>
      </p:pic>
      <p:cxnSp>
        <p:nvCxnSpPr>
          <p:cNvPr id="64" name="Gerade Verbindung mit Pfeil 75">
            <a:extLst>
              <a:ext uri="{FF2B5EF4-FFF2-40B4-BE49-F238E27FC236}">
                <a16:creationId xmlns:a16="http://schemas.microsoft.com/office/drawing/2014/main" id="{A68902F7-B6C7-9033-6BCC-7A886FA788FC}"/>
              </a:ext>
            </a:extLst>
          </p:cNvPr>
          <p:cNvCxnSpPr>
            <a:cxnSpLocks/>
          </p:cNvCxnSpPr>
          <p:nvPr/>
        </p:nvCxnSpPr>
        <p:spPr>
          <a:xfrm>
            <a:off x="1845638" y="2883493"/>
            <a:ext cx="577309" cy="183769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5">
            <a:extLst>
              <a:ext uri="{FF2B5EF4-FFF2-40B4-BE49-F238E27FC236}">
                <a16:creationId xmlns:a16="http://schemas.microsoft.com/office/drawing/2014/main" id="{3BFF96D4-A7BB-D815-E4F8-7946A1467579}"/>
              </a:ext>
            </a:extLst>
          </p:cNvPr>
          <p:cNvCxnSpPr>
            <a:cxnSpLocks/>
          </p:cNvCxnSpPr>
          <p:nvPr/>
        </p:nvCxnSpPr>
        <p:spPr>
          <a:xfrm flipV="1">
            <a:off x="1845637" y="1706010"/>
            <a:ext cx="577310" cy="153222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5">
            <a:extLst>
              <a:ext uri="{FF2B5EF4-FFF2-40B4-BE49-F238E27FC236}">
                <a16:creationId xmlns:a16="http://schemas.microsoft.com/office/drawing/2014/main" id="{39CC3710-40F6-3E29-403D-4DA99DF856B9}"/>
              </a:ext>
            </a:extLst>
          </p:cNvPr>
          <p:cNvCxnSpPr>
            <a:cxnSpLocks/>
          </p:cNvCxnSpPr>
          <p:nvPr/>
        </p:nvCxnSpPr>
        <p:spPr>
          <a:xfrm>
            <a:off x="3832690" y="1706010"/>
            <a:ext cx="880266" cy="0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mit Pfeil 75">
            <a:extLst>
              <a:ext uri="{FF2B5EF4-FFF2-40B4-BE49-F238E27FC236}">
                <a16:creationId xmlns:a16="http://schemas.microsoft.com/office/drawing/2014/main" id="{4BDA34C5-73D4-419B-0F46-890205B88A35}"/>
              </a:ext>
            </a:extLst>
          </p:cNvPr>
          <p:cNvCxnSpPr>
            <a:cxnSpLocks/>
          </p:cNvCxnSpPr>
          <p:nvPr/>
        </p:nvCxnSpPr>
        <p:spPr>
          <a:xfrm>
            <a:off x="3832690" y="3169759"/>
            <a:ext cx="880266" cy="0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mit Pfeil 75">
            <a:extLst>
              <a:ext uri="{FF2B5EF4-FFF2-40B4-BE49-F238E27FC236}">
                <a16:creationId xmlns:a16="http://schemas.microsoft.com/office/drawing/2014/main" id="{B41AD853-8232-CBA8-2458-C5680AE64540}"/>
              </a:ext>
            </a:extLst>
          </p:cNvPr>
          <p:cNvCxnSpPr>
            <a:cxnSpLocks/>
          </p:cNvCxnSpPr>
          <p:nvPr/>
        </p:nvCxnSpPr>
        <p:spPr>
          <a:xfrm>
            <a:off x="5436929" y="3169759"/>
            <a:ext cx="880266" cy="0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 Verbindung mit Pfeil 75">
            <a:extLst>
              <a:ext uri="{FF2B5EF4-FFF2-40B4-BE49-F238E27FC236}">
                <a16:creationId xmlns:a16="http://schemas.microsoft.com/office/drawing/2014/main" id="{3C98DF0B-BF13-D28E-89D6-1A2AEB19DE43}"/>
              </a:ext>
            </a:extLst>
          </p:cNvPr>
          <p:cNvCxnSpPr>
            <a:cxnSpLocks/>
          </p:cNvCxnSpPr>
          <p:nvPr/>
        </p:nvCxnSpPr>
        <p:spPr>
          <a:xfrm>
            <a:off x="5436929" y="1699592"/>
            <a:ext cx="880266" cy="0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C2DE769E-CF3B-6A30-6B8D-E3CBA0163119}"/>
                  </a:ext>
                </a:extLst>
              </p:cNvPr>
              <p:cNvSpPr txBox="1"/>
              <p:nvPr/>
            </p:nvSpPr>
            <p:spPr>
              <a:xfrm>
                <a:off x="4047385" y="1360315"/>
                <a:ext cx="421719" cy="280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𝒇</m:t>
                      </m:r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(.)</m:t>
                      </m:r>
                    </m:oMath>
                  </m:oMathPara>
                </a14:m>
                <a:endParaRPr lang="en-US" sz="1600" b="1">
                  <a:latin typeface="+mn-lt"/>
                </a:endParaRPr>
              </a:p>
            </p:txBody>
          </p:sp>
        </mc:Choice>
        <mc:Fallback xmlns="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C2DE769E-CF3B-6A30-6B8D-E3CBA01631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47385" y="1360315"/>
                <a:ext cx="421719" cy="280718"/>
              </a:xfrm>
              <a:prstGeom prst="rect">
                <a:avLst/>
              </a:prstGeom>
              <a:blipFill>
                <a:blip r:embed="rId10"/>
                <a:stretch>
                  <a:fillRect l="-15942" r="-14493" b="-239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A459D003-EA1F-0DE4-1DEB-A7DECF817FE6}"/>
                  </a:ext>
                </a:extLst>
              </p:cNvPr>
              <p:cNvSpPr txBox="1"/>
              <p:nvPr/>
            </p:nvSpPr>
            <p:spPr>
              <a:xfrm>
                <a:off x="4047386" y="2773682"/>
                <a:ext cx="421719" cy="280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𝒇</m:t>
                      </m:r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(.)</m:t>
                      </m:r>
                    </m:oMath>
                  </m:oMathPara>
                </a14:m>
                <a:endParaRPr lang="en-US" sz="1600" b="1" err="1">
                  <a:latin typeface="+mn-lt"/>
                </a:endParaRPr>
              </a:p>
            </p:txBody>
          </p:sp>
        </mc:Choice>
        <mc:Fallback xmlns=""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A459D003-EA1F-0DE4-1DEB-A7DECF817F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47386" y="2773682"/>
                <a:ext cx="421719" cy="280718"/>
              </a:xfrm>
              <a:prstGeom prst="rect">
                <a:avLst/>
              </a:prstGeom>
              <a:blipFill>
                <a:blip r:embed="rId11"/>
                <a:stretch>
                  <a:fillRect l="-15942" r="-14493" b="-217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E7F09F5E-6DE3-1E89-709D-1722AD3F4999}"/>
                  </a:ext>
                </a:extLst>
              </p:cNvPr>
              <p:cNvSpPr txBox="1"/>
              <p:nvPr/>
            </p:nvSpPr>
            <p:spPr>
              <a:xfrm>
                <a:off x="5589770" y="1360222"/>
                <a:ext cx="442942" cy="280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𝒈</m:t>
                      </m:r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(.)</m:t>
                      </m:r>
                    </m:oMath>
                  </m:oMathPara>
                </a14:m>
                <a:endParaRPr lang="en-US" sz="1600" b="1" err="1">
                  <a:latin typeface="+mn-lt"/>
                </a:endParaRPr>
              </a:p>
            </p:txBody>
          </p:sp>
        </mc:Choice>
        <mc:Fallback xmlns=""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E7F09F5E-6DE3-1E89-709D-1722AD3F49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89770" y="1360222"/>
                <a:ext cx="442942" cy="280718"/>
              </a:xfrm>
              <a:prstGeom prst="rect">
                <a:avLst/>
              </a:prstGeom>
              <a:blipFill>
                <a:blip r:embed="rId12"/>
                <a:stretch>
                  <a:fillRect l="-9589" r="-13699" b="-239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21CA8391-1622-36DD-74D5-86AA715FCE18}"/>
                  </a:ext>
                </a:extLst>
              </p:cNvPr>
              <p:cNvSpPr txBox="1"/>
              <p:nvPr/>
            </p:nvSpPr>
            <p:spPr>
              <a:xfrm>
                <a:off x="5589770" y="2750526"/>
                <a:ext cx="442942" cy="280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𝒈</m:t>
                      </m:r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(.)</m:t>
                      </m:r>
                    </m:oMath>
                  </m:oMathPara>
                </a14:m>
                <a:endParaRPr lang="en-US" sz="1600" b="1" err="1">
                  <a:latin typeface="+mn-lt"/>
                </a:endParaRPr>
              </a:p>
            </p:txBody>
          </p:sp>
        </mc:Choice>
        <mc:Fallback xmlns="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21CA8391-1622-36DD-74D5-86AA715FCE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89770" y="2750526"/>
                <a:ext cx="442942" cy="280718"/>
              </a:xfrm>
              <a:prstGeom prst="rect">
                <a:avLst/>
              </a:prstGeom>
              <a:blipFill>
                <a:blip r:embed="rId13"/>
                <a:stretch>
                  <a:fillRect l="-9589" r="-13699" b="-239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8DD0473C-C659-D441-6267-23103404785A}"/>
                  </a:ext>
                </a:extLst>
              </p:cNvPr>
              <p:cNvSpPr txBox="1"/>
              <p:nvPr/>
            </p:nvSpPr>
            <p:spPr>
              <a:xfrm>
                <a:off x="4938573" y="1541020"/>
                <a:ext cx="252185" cy="280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 smtClean="0">
                              <a:latin typeface="Cambria Math" panose="02040503050406030204" pitchFamily="18" charset="0"/>
                            </a:rPr>
                            <m:t>𝒉</m:t>
                          </m:r>
                        </m:e>
                        <m:sub>
                          <m:r>
                            <a:rPr lang="de-DE" sz="1600" b="1" i="1" smtClean="0"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</m:oMath>
                  </m:oMathPara>
                </a14:m>
                <a:endParaRPr lang="en-US" sz="1600" b="1" err="1">
                  <a:latin typeface="+mn-lt"/>
                </a:endParaRPr>
              </a:p>
            </p:txBody>
          </p:sp>
        </mc:Choice>
        <mc:Fallback xmlns=""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8DD0473C-C659-D441-6267-2310340478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8573" y="1541020"/>
                <a:ext cx="252185" cy="280718"/>
              </a:xfrm>
              <a:prstGeom prst="rect">
                <a:avLst/>
              </a:prstGeom>
              <a:blipFill>
                <a:blip r:embed="rId14"/>
                <a:stretch>
                  <a:fillRect l="-16667" r="-4762" b="-6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AE326265-4B3B-8B1D-0674-A177CC9445C0}"/>
                  </a:ext>
                </a:extLst>
              </p:cNvPr>
              <p:cNvSpPr txBox="1"/>
              <p:nvPr/>
            </p:nvSpPr>
            <p:spPr>
              <a:xfrm>
                <a:off x="4939290" y="2957164"/>
                <a:ext cx="253787" cy="3072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 smtClean="0">
                              <a:latin typeface="Cambria Math" panose="02040503050406030204" pitchFamily="18" charset="0"/>
                            </a:rPr>
                            <m:t>𝒉</m:t>
                          </m:r>
                        </m:e>
                        <m:sub>
                          <m:r>
                            <a:rPr lang="de-DE" sz="1600" b="1" i="1" smtClean="0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</m:oMath>
                  </m:oMathPara>
                </a14:m>
                <a:endParaRPr lang="en-US" sz="1600" b="1" err="1">
                  <a:latin typeface="+mn-lt"/>
                </a:endParaRPr>
              </a:p>
            </p:txBody>
          </p:sp>
        </mc:Choice>
        <mc:Fallback xmlns=""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AE326265-4B3B-8B1D-0674-A177CC9445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9290" y="2957164"/>
                <a:ext cx="253787" cy="307200"/>
              </a:xfrm>
              <a:prstGeom prst="rect">
                <a:avLst/>
              </a:prstGeom>
              <a:blipFill>
                <a:blip r:embed="rId15"/>
                <a:stretch>
                  <a:fillRect l="-16667" r="-9524" b="-18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6FC87981-6814-9098-C198-9E26D3C44901}"/>
                  </a:ext>
                </a:extLst>
              </p:cNvPr>
              <p:cNvSpPr txBox="1"/>
              <p:nvPr/>
            </p:nvSpPr>
            <p:spPr>
              <a:xfrm>
                <a:off x="6409811" y="1559233"/>
                <a:ext cx="228139" cy="280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 smtClean="0"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  <m:sub>
                          <m:r>
                            <a:rPr lang="de-DE" sz="1600" b="1" i="1" smtClean="0"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</m:oMath>
                  </m:oMathPara>
                </a14:m>
                <a:endParaRPr lang="en-US" sz="1600" b="1" err="1">
                  <a:latin typeface="+mn-lt"/>
                </a:endParaRPr>
              </a:p>
            </p:txBody>
          </p:sp>
        </mc:Choice>
        <mc:Fallback xmlns="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6FC87981-6814-9098-C198-9E26D3C449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09811" y="1559233"/>
                <a:ext cx="228139" cy="280718"/>
              </a:xfrm>
              <a:prstGeom prst="rect">
                <a:avLst/>
              </a:prstGeom>
              <a:blipFill>
                <a:blip r:embed="rId16"/>
                <a:stretch>
                  <a:fillRect l="-7895" r="-5263" b="-6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648B27A3-099D-5B1F-00BB-A9989629CA74}"/>
                  </a:ext>
                </a:extLst>
              </p:cNvPr>
              <p:cNvSpPr txBox="1"/>
              <p:nvPr/>
            </p:nvSpPr>
            <p:spPr>
              <a:xfrm>
                <a:off x="6410528" y="2975377"/>
                <a:ext cx="229742" cy="3072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 smtClean="0"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  <m:sub>
                          <m:r>
                            <a:rPr lang="de-DE" sz="1600" b="1" i="1" smtClean="0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</m:oMath>
                  </m:oMathPara>
                </a14:m>
                <a:endParaRPr lang="en-US" sz="1600" b="1" err="1">
                  <a:latin typeface="+mn-lt"/>
                </a:endParaRPr>
              </a:p>
            </p:txBody>
          </p:sp>
        </mc:Choice>
        <mc:Fallback xmlns=""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648B27A3-099D-5B1F-00BB-A9989629CA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0528" y="2975377"/>
                <a:ext cx="229742" cy="307200"/>
              </a:xfrm>
              <a:prstGeom prst="rect">
                <a:avLst/>
              </a:prstGeom>
              <a:blipFill>
                <a:blip r:embed="rId17"/>
                <a:stretch>
                  <a:fillRect l="-10811" r="-13514" b="-18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5" name="Connector: Curved 104">
            <a:extLst>
              <a:ext uri="{FF2B5EF4-FFF2-40B4-BE49-F238E27FC236}">
                <a16:creationId xmlns:a16="http://schemas.microsoft.com/office/drawing/2014/main" id="{2E01CD89-1457-9F25-000A-E445A4177D38}"/>
              </a:ext>
            </a:extLst>
          </p:cNvPr>
          <p:cNvCxnSpPr>
            <a:stCxn id="93" idx="3"/>
            <a:endCxn id="92" idx="3"/>
          </p:cNvCxnSpPr>
          <p:nvPr/>
        </p:nvCxnSpPr>
        <p:spPr>
          <a:xfrm flipH="1" flipV="1">
            <a:off x="6637950" y="1699592"/>
            <a:ext cx="2320" cy="1429385"/>
          </a:xfrm>
          <a:prstGeom prst="curvedConnector3">
            <a:avLst>
              <a:gd name="adj1" fmla="val -9853448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038B1662-AE9D-A2BF-DCFA-3CAFAFB7C07F}"/>
              </a:ext>
            </a:extLst>
          </p:cNvPr>
          <p:cNvSpPr txBox="1"/>
          <p:nvPr/>
        </p:nvSpPr>
        <p:spPr>
          <a:xfrm>
            <a:off x="6999800" y="2040402"/>
            <a:ext cx="1827208" cy="6139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200" b="1">
                <a:latin typeface="+mn-lt"/>
              </a:rPr>
              <a:t>Contrastive Loss </a:t>
            </a:r>
          </a:p>
          <a:p>
            <a:pPr>
              <a:lnSpc>
                <a:spcPct val="114000"/>
              </a:lnSpc>
            </a:pPr>
            <a:r>
              <a:rPr lang="en-US" sz="1200">
                <a:latin typeface="+mn-lt"/>
              </a:rPr>
              <a:t>(i.e. maximize agreement using cosine similarity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C43810A-087C-2B73-17EF-9EA0533E3059}"/>
                  </a:ext>
                </a:extLst>
              </p:cNvPr>
              <p:cNvSpPr txBox="1"/>
              <p:nvPr/>
            </p:nvSpPr>
            <p:spPr>
              <a:xfrm>
                <a:off x="1239054" y="3771604"/>
                <a:ext cx="421719" cy="280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𝒇</m:t>
                      </m:r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(.)</m:t>
                      </m:r>
                    </m:oMath>
                  </m:oMathPara>
                </a14:m>
                <a:endParaRPr lang="en-US" sz="1600" b="1">
                  <a:latin typeface="+mn-lt"/>
                </a:endParaRP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C43810A-087C-2B73-17EF-9EA0533E30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9054" y="3771604"/>
                <a:ext cx="421719" cy="280718"/>
              </a:xfrm>
              <a:prstGeom prst="rect">
                <a:avLst/>
              </a:prstGeom>
              <a:blipFill>
                <a:blip r:embed="rId18"/>
                <a:stretch>
                  <a:fillRect l="-14493" r="-15942" b="-217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FC6465BC-8A0F-8C0A-99C9-687DF0D48CE4}"/>
                  </a:ext>
                </a:extLst>
              </p:cNvPr>
              <p:cNvSpPr txBox="1"/>
              <p:nvPr/>
            </p:nvSpPr>
            <p:spPr>
              <a:xfrm>
                <a:off x="3693095" y="3771604"/>
                <a:ext cx="442942" cy="280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𝒈</m:t>
                      </m:r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(.)</m:t>
                      </m:r>
                    </m:oMath>
                  </m:oMathPara>
                </a14:m>
                <a:endParaRPr lang="en-US" sz="1600" b="1">
                  <a:latin typeface="+mn-lt"/>
                </a:endParaRPr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FC6465BC-8A0F-8C0A-99C9-687DF0D48C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3095" y="3771604"/>
                <a:ext cx="442942" cy="280718"/>
              </a:xfrm>
              <a:prstGeom prst="rect">
                <a:avLst/>
              </a:prstGeom>
              <a:blipFill>
                <a:blip r:embed="rId19"/>
                <a:stretch>
                  <a:fillRect l="-9722" r="-15278" b="-217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TextBox 30">
            <a:extLst>
              <a:ext uri="{FF2B5EF4-FFF2-40B4-BE49-F238E27FC236}">
                <a16:creationId xmlns:a16="http://schemas.microsoft.com/office/drawing/2014/main" id="{6EE2DD4A-F9CC-048F-4411-16FE8FDC7E7C}"/>
              </a:ext>
            </a:extLst>
          </p:cNvPr>
          <p:cNvSpPr txBox="1"/>
          <p:nvPr/>
        </p:nvSpPr>
        <p:spPr>
          <a:xfrm>
            <a:off x="1743518" y="3815462"/>
            <a:ext cx="1671375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200">
                <a:latin typeface="+mn-lt"/>
              </a:rPr>
              <a:t>-   Encoder (</a:t>
            </a:r>
            <a:r>
              <a:rPr lang="en-US" sz="1200" err="1">
                <a:latin typeface="+mn-lt"/>
              </a:rPr>
              <a:t>ResNet</a:t>
            </a:r>
            <a:r>
              <a:rPr lang="en-US" sz="1200">
                <a:latin typeface="+mn-lt"/>
              </a:rPr>
              <a:t> 50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56FCD60-2EAF-D95B-EBFC-A4E81CB002CA}"/>
              </a:ext>
            </a:extLst>
          </p:cNvPr>
          <p:cNvSpPr txBox="1"/>
          <p:nvPr/>
        </p:nvSpPr>
        <p:spPr>
          <a:xfrm>
            <a:off x="4208171" y="3815462"/>
            <a:ext cx="1385017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200">
                <a:latin typeface="+mn-lt"/>
              </a:rPr>
              <a:t>-   Predictor (MLP)</a:t>
            </a:r>
          </a:p>
        </p:txBody>
      </p: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58603650-E9CC-D67A-32CE-9D8EAB73134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 dirty="0">
                <a:latin typeface="Arial"/>
                <a:cs typeface="Arial"/>
              </a:rPr>
              <a:t>◻︎ Web Application</a:t>
            </a:r>
            <a:r>
              <a:rPr lang="de-DE" dirty="0">
                <a:latin typeface="Arial"/>
                <a:cs typeface="Arial"/>
              </a:rPr>
              <a:t> |</a:t>
            </a:r>
            <a:r>
              <a:rPr lang="pl-PL" dirty="0">
                <a:latin typeface="Arial"/>
                <a:cs typeface="Arial"/>
              </a:rPr>
              <a:t> ◻︎ Pre</a:t>
            </a:r>
            <a:r>
              <a:rPr lang="de-DE" dirty="0">
                <a:latin typeface="Arial"/>
                <a:cs typeface="Arial"/>
              </a:rPr>
              <a:t>-</a:t>
            </a:r>
            <a:r>
              <a:rPr lang="pl-PL" dirty="0">
                <a:latin typeface="Arial"/>
                <a:cs typeface="Arial"/>
              </a:rPr>
              <a:t>processing </a:t>
            </a:r>
            <a:r>
              <a:rPr lang="pl-PL" b="1" dirty="0">
                <a:latin typeface="Arial"/>
                <a:cs typeface="Arial"/>
              </a:rPr>
              <a:t>|</a:t>
            </a:r>
            <a:r>
              <a:rPr lang="pl-PL" dirty="0">
                <a:latin typeface="Arial"/>
                <a:cs typeface="Arial"/>
              </a:rPr>
              <a:t> ◼︎ </a:t>
            </a:r>
            <a:r>
              <a:rPr lang="de-DE" b="1" dirty="0">
                <a:latin typeface="Arial"/>
                <a:cs typeface="Arial"/>
              </a:rPr>
              <a:t>Modeling</a:t>
            </a:r>
            <a:r>
              <a:rPr lang="pl-PL" dirty="0">
                <a:latin typeface="Arial"/>
                <a:cs typeface="Arial"/>
              </a:rPr>
              <a:t> </a:t>
            </a:r>
            <a:r>
              <a:rPr lang="pl-PL" b="1" dirty="0">
                <a:latin typeface="Arial"/>
                <a:cs typeface="Arial"/>
              </a:rPr>
              <a:t>| </a:t>
            </a:r>
            <a:r>
              <a:rPr lang="pl-PL" dirty="0">
                <a:latin typeface="Arial"/>
                <a:cs typeface="Arial"/>
              </a:rPr>
              <a:t>◻︎ </a:t>
            </a:r>
            <a:r>
              <a:rPr lang="de-DE" dirty="0">
                <a:latin typeface="Arial"/>
                <a:cs typeface="Arial"/>
              </a:rPr>
              <a:t>Challenges </a:t>
            </a:r>
            <a:r>
              <a:rPr lang="pl-PL" b="1" dirty="0">
                <a:latin typeface="Arial"/>
                <a:cs typeface="Arial"/>
              </a:rPr>
              <a:t>| </a:t>
            </a:r>
            <a:r>
              <a:rPr lang="pl-PL" dirty="0">
                <a:latin typeface="Arial"/>
                <a:cs typeface="Arial"/>
              </a:rPr>
              <a:t>◻︎ </a:t>
            </a:r>
            <a:r>
              <a:rPr lang="en-GB" dirty="0">
                <a:latin typeface="Arial"/>
                <a:cs typeface="Arial"/>
              </a:rPr>
              <a:t>Next steps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Box 29">
                <a:extLst>
                  <a:ext uri="{FF2B5EF4-FFF2-40B4-BE49-F238E27FC236}">
                    <a16:creationId xmlns:a16="http://schemas.microsoft.com/office/drawing/2014/main" id="{EDF99637-EC64-6B20-6B12-A5AFD0434E7C}"/>
                  </a:ext>
                </a:extLst>
              </p:cNvPr>
              <p:cNvSpPr txBox="1"/>
              <p:nvPr/>
            </p:nvSpPr>
            <p:spPr>
              <a:xfrm>
                <a:off x="5811644" y="3762079"/>
                <a:ext cx="187551" cy="280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1" i="1" smtClean="0">
                          <a:latin typeface="Cambria Math" panose="02040503050406030204" pitchFamily="18" charset="0"/>
                        </a:rPr>
                        <m:t>𝒉</m:t>
                      </m:r>
                    </m:oMath>
                  </m:oMathPara>
                </a14:m>
                <a:endParaRPr lang="en-US" sz="16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34" name="TextBox 29">
                <a:extLst>
                  <a:ext uri="{FF2B5EF4-FFF2-40B4-BE49-F238E27FC236}">
                    <a16:creationId xmlns:a16="http://schemas.microsoft.com/office/drawing/2014/main" id="{EDF99637-EC64-6B20-6B12-A5AFD0434E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1644" y="3762079"/>
                <a:ext cx="187551" cy="280718"/>
              </a:xfrm>
              <a:prstGeom prst="rect">
                <a:avLst/>
              </a:prstGeom>
              <a:blipFill>
                <a:blip r:embed="rId20"/>
                <a:stretch>
                  <a:fillRect l="-22581" r="-25806" b="-217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" name="TextBox 31">
            <a:extLst>
              <a:ext uri="{FF2B5EF4-FFF2-40B4-BE49-F238E27FC236}">
                <a16:creationId xmlns:a16="http://schemas.microsoft.com/office/drawing/2014/main" id="{107AF7AF-8E4E-7352-FC4E-D0222C1059F6}"/>
              </a:ext>
            </a:extLst>
          </p:cNvPr>
          <p:cNvSpPr txBox="1"/>
          <p:nvPr/>
        </p:nvSpPr>
        <p:spPr>
          <a:xfrm>
            <a:off x="6138709" y="3805937"/>
            <a:ext cx="1385017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200" dirty="0">
                <a:latin typeface="+mn-lt"/>
              </a:rPr>
              <a:t>-   Representation</a:t>
            </a:r>
          </a:p>
        </p:txBody>
      </p:sp>
    </p:spTree>
    <p:extLst>
      <p:ext uri="{BB962C8B-B14F-4D97-AF65-F5344CB8AC3E}">
        <p14:creationId xmlns:p14="http://schemas.microsoft.com/office/powerpoint/2010/main" val="79651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4.32099E-6 L 0.2 -0.1321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000" y="-660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46914E-7 L 0.19982 0.16018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983" y="79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85" grpId="0"/>
      <p:bldP spid="88" grpId="0"/>
      <p:bldP spid="89" grpId="0"/>
      <p:bldP spid="90" grpId="0"/>
      <p:bldP spid="91" grpId="0"/>
      <p:bldP spid="92" grpId="0"/>
      <p:bldP spid="93" grpId="0"/>
      <p:bldP spid="107" grpId="0"/>
      <p:bldP spid="29" grpId="0"/>
      <p:bldP spid="30" grpId="0"/>
      <p:bldP spid="31" grpId="0"/>
      <p:bldP spid="32" grpId="0"/>
      <p:bldP spid="34" grpId="0"/>
      <p:bldP spid="3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820738"/>
          </a:xfrm>
        </p:spPr>
        <p:txBody>
          <a:bodyPr vert="horz"/>
          <a:lstStyle/>
          <a:p>
            <a:r>
              <a:rPr lang="en-US"/>
              <a:t>We implemented self-supervised learning with Similar Siamese Network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6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231AA727-BF86-98E2-E4A4-0F1E6247270C}"/>
              </a:ext>
            </a:extLst>
          </p:cNvPr>
          <p:cNvGrpSpPr/>
          <p:nvPr/>
        </p:nvGrpSpPr>
        <p:grpSpPr>
          <a:xfrm>
            <a:off x="512540" y="1935321"/>
            <a:ext cx="4211995" cy="2859770"/>
            <a:chOff x="40345" y="1232915"/>
            <a:chExt cx="4955288" cy="3499331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99EF4A2-2C4E-547A-B58F-6E275A167C8B}"/>
                </a:ext>
              </a:extLst>
            </p:cNvPr>
            <p:cNvGrpSpPr/>
            <p:nvPr/>
          </p:nvGrpSpPr>
          <p:grpSpPr>
            <a:xfrm>
              <a:off x="1360098" y="3938475"/>
              <a:ext cx="873573" cy="793771"/>
              <a:chOff x="78338" y="2343809"/>
              <a:chExt cx="1097751" cy="914400"/>
            </a:xfrm>
          </p:grpSpPr>
          <p:pic>
            <p:nvPicPr>
              <p:cNvPr id="16" name="Grafik 15" descr="Cabriolet mit einfarbiger Füllung">
                <a:extLst>
                  <a:ext uri="{FF2B5EF4-FFF2-40B4-BE49-F238E27FC236}">
                    <a16:creationId xmlns:a16="http://schemas.microsoft.com/office/drawing/2014/main" id="{9E6B3620-0E51-8283-956A-416EE31543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86188" y="2343809"/>
                <a:ext cx="914401" cy="914400"/>
              </a:xfrm>
              <a:prstGeom prst="rect">
                <a:avLst/>
              </a:prstGeom>
            </p:spPr>
          </p:pic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EB7A956-DB0F-2B29-E206-2976D16E33CF}"/>
                  </a:ext>
                </a:extLst>
              </p:cNvPr>
              <p:cNvSpPr/>
              <p:nvPr/>
            </p:nvSpPr>
            <p:spPr>
              <a:xfrm>
                <a:off x="78338" y="2532530"/>
                <a:ext cx="1097751" cy="575295"/>
              </a:xfrm>
              <a:prstGeom prst="rect">
                <a:avLst/>
              </a:prstGeom>
              <a:noFill/>
              <a:ln w="28067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1041" tIns="50521" rIns="101041" bIns="5052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de-DE"/>
              </a:p>
            </p:txBody>
          </p:sp>
        </p:grpSp>
        <p:pic>
          <p:nvPicPr>
            <p:cNvPr id="19" name="Grafik 18" descr="Cabriolet mit einfarbiger Füllung">
              <a:extLst>
                <a:ext uri="{FF2B5EF4-FFF2-40B4-BE49-F238E27FC236}">
                  <a16:creationId xmlns:a16="http://schemas.microsoft.com/office/drawing/2014/main" id="{13E05476-2186-4BB3-A742-B37BE147F03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864978" y="3114640"/>
              <a:ext cx="873571" cy="952931"/>
            </a:xfrm>
            <a:prstGeom prst="rect">
              <a:avLst/>
            </a:prstGeom>
          </p:spPr>
        </p:pic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0B01EA07-1F0E-7477-FA8D-1AF802728D6C}"/>
                </a:ext>
              </a:extLst>
            </p:cNvPr>
            <p:cNvSpPr/>
            <p:nvPr/>
          </p:nvSpPr>
          <p:spPr>
            <a:xfrm>
              <a:off x="2056114" y="3359542"/>
              <a:ext cx="873573" cy="499401"/>
            </a:xfrm>
            <a:prstGeom prst="rect">
              <a:avLst/>
            </a:prstGeom>
            <a:noFill/>
            <a:ln w="28067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1041" tIns="50521" rIns="101041" bIns="505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68BDCBEE-9FE7-BDD3-D92D-2815636E5E17}"/>
                </a:ext>
              </a:extLst>
            </p:cNvPr>
            <p:cNvSpPr/>
            <p:nvPr/>
          </p:nvSpPr>
          <p:spPr>
            <a:xfrm>
              <a:off x="1586502" y="3439615"/>
              <a:ext cx="436786" cy="375069"/>
            </a:xfrm>
            <a:prstGeom prst="rect">
              <a:avLst/>
            </a:prstGeom>
            <a:solidFill>
              <a:schemeClr val="bg1"/>
            </a:solidFill>
            <a:ln w="28067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1041" tIns="50521" rIns="101041" bIns="505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pic>
          <p:nvPicPr>
            <p:cNvPr id="22" name="Grafik 21" descr="Cabriolet mit einfarbiger Füllung">
              <a:extLst>
                <a:ext uri="{FF2B5EF4-FFF2-40B4-BE49-F238E27FC236}">
                  <a16:creationId xmlns:a16="http://schemas.microsoft.com/office/drawing/2014/main" id="{34CF1945-F27C-A54D-0AA5-84F88096B0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470255">
              <a:off x="734026" y="3110549"/>
              <a:ext cx="881071" cy="961112"/>
            </a:xfrm>
            <a:prstGeom prst="rect">
              <a:avLst/>
            </a:prstGeom>
          </p:spPr>
        </p:pic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02160AF8-DBB7-1E97-E2A1-D1576299E359}"/>
                </a:ext>
              </a:extLst>
            </p:cNvPr>
            <p:cNvSpPr/>
            <p:nvPr/>
          </p:nvSpPr>
          <p:spPr>
            <a:xfrm>
              <a:off x="725939" y="3359542"/>
              <a:ext cx="873572" cy="499401"/>
            </a:xfrm>
            <a:prstGeom prst="rect">
              <a:avLst/>
            </a:prstGeom>
            <a:noFill/>
            <a:ln w="28067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1041" tIns="50521" rIns="101041" bIns="505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4AC3196F-2ED4-E17C-7559-117268EDFF18}"/>
                </a:ext>
              </a:extLst>
            </p:cNvPr>
            <p:cNvSpPr/>
            <p:nvPr/>
          </p:nvSpPr>
          <p:spPr>
            <a:xfrm>
              <a:off x="725939" y="1919950"/>
              <a:ext cx="873572" cy="499401"/>
            </a:xfrm>
            <a:prstGeom prst="rect">
              <a:avLst/>
            </a:prstGeom>
            <a:ln w="21590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150"/>
                <a:t>predictor</a:t>
              </a: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7A407D85-7DD6-6CF5-500A-37E24F5DB00B}"/>
                </a:ext>
              </a:extLst>
            </p:cNvPr>
            <p:cNvSpPr/>
            <p:nvPr/>
          </p:nvSpPr>
          <p:spPr>
            <a:xfrm>
              <a:off x="725939" y="2626818"/>
              <a:ext cx="873572" cy="499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190"/>
                <a:t>encoder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CFD2EFF3-057F-EC9E-1CD3-2B8F4BC5D7CC}"/>
                </a:ext>
              </a:extLst>
            </p:cNvPr>
            <p:cNvSpPr/>
            <p:nvPr/>
          </p:nvSpPr>
          <p:spPr>
            <a:xfrm>
              <a:off x="2056115" y="2626818"/>
              <a:ext cx="873572" cy="499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190" dirty="0"/>
                <a:t>encoder</a:t>
              </a:r>
            </a:p>
          </p:txBody>
        </p:sp>
        <p:cxnSp>
          <p:nvCxnSpPr>
            <p:cNvPr id="33" name="Gewinkelte Verbindung 32">
              <a:extLst>
                <a:ext uri="{FF2B5EF4-FFF2-40B4-BE49-F238E27FC236}">
                  <a16:creationId xmlns:a16="http://schemas.microsoft.com/office/drawing/2014/main" id="{09558D71-691D-A35F-EAA2-8F6A28C921AD}"/>
                </a:ext>
              </a:extLst>
            </p:cNvPr>
            <p:cNvCxnSpPr>
              <a:stCxn id="17" idx="0"/>
              <a:endCxn id="20" idx="2"/>
            </p:cNvCxnSpPr>
            <p:nvPr/>
          </p:nvCxnSpPr>
          <p:spPr>
            <a:xfrm rot="5400000" flipH="1" flipV="1">
              <a:off x="2023215" y="3632614"/>
              <a:ext cx="243357" cy="696016"/>
            </a:xfrm>
            <a:prstGeom prst="bentConnector3">
              <a:avLst/>
            </a:prstGeom>
            <a:ln w="8096"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winkelte Verbindung 34">
              <a:extLst>
                <a:ext uri="{FF2B5EF4-FFF2-40B4-BE49-F238E27FC236}">
                  <a16:creationId xmlns:a16="http://schemas.microsoft.com/office/drawing/2014/main" id="{C7E6E887-739D-2089-52E8-31A90847F53C}"/>
                </a:ext>
              </a:extLst>
            </p:cNvPr>
            <p:cNvCxnSpPr>
              <a:stCxn id="17" idx="0"/>
              <a:endCxn id="23" idx="2"/>
            </p:cNvCxnSpPr>
            <p:nvPr/>
          </p:nvCxnSpPr>
          <p:spPr>
            <a:xfrm rot="16200000" flipV="1">
              <a:off x="1358127" y="3663542"/>
              <a:ext cx="243357" cy="634160"/>
            </a:xfrm>
            <a:prstGeom prst="bentConnector3">
              <a:avLst/>
            </a:prstGeom>
            <a:ln w="8096"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>
              <a:extLst>
                <a:ext uri="{FF2B5EF4-FFF2-40B4-BE49-F238E27FC236}">
                  <a16:creationId xmlns:a16="http://schemas.microsoft.com/office/drawing/2014/main" id="{EABF0AB4-5EB7-C271-F346-E0A529956E89}"/>
                </a:ext>
              </a:extLst>
            </p:cNvPr>
            <p:cNvCxnSpPr>
              <a:stCxn id="20" idx="0"/>
              <a:endCxn id="31" idx="2"/>
            </p:cNvCxnSpPr>
            <p:nvPr/>
          </p:nvCxnSpPr>
          <p:spPr>
            <a:xfrm flipV="1">
              <a:off x="2492901" y="3126219"/>
              <a:ext cx="0" cy="233323"/>
            </a:xfrm>
            <a:prstGeom prst="straightConnector1">
              <a:avLst/>
            </a:prstGeom>
            <a:ln w="8096"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38">
              <a:extLst>
                <a:ext uri="{FF2B5EF4-FFF2-40B4-BE49-F238E27FC236}">
                  <a16:creationId xmlns:a16="http://schemas.microsoft.com/office/drawing/2014/main" id="{859BAE2E-4EBF-3D19-A4FD-EE9FAE06AD1D}"/>
                </a:ext>
              </a:extLst>
            </p:cNvPr>
            <p:cNvCxnSpPr>
              <a:cxnSpLocks/>
              <a:stCxn id="23" idx="0"/>
              <a:endCxn id="30" idx="2"/>
            </p:cNvCxnSpPr>
            <p:nvPr/>
          </p:nvCxnSpPr>
          <p:spPr>
            <a:xfrm flipV="1">
              <a:off x="1162725" y="3126219"/>
              <a:ext cx="0" cy="233323"/>
            </a:xfrm>
            <a:prstGeom prst="straightConnector1">
              <a:avLst/>
            </a:prstGeom>
            <a:ln w="8096"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>
              <a:extLst>
                <a:ext uri="{FF2B5EF4-FFF2-40B4-BE49-F238E27FC236}">
                  <a16:creationId xmlns:a16="http://schemas.microsoft.com/office/drawing/2014/main" id="{405A18F5-A920-D58F-C270-2C543C4E413E}"/>
                </a:ext>
              </a:extLst>
            </p:cNvPr>
            <p:cNvCxnSpPr>
              <a:cxnSpLocks/>
              <a:stCxn id="30" idx="0"/>
              <a:endCxn id="27" idx="2"/>
            </p:cNvCxnSpPr>
            <p:nvPr/>
          </p:nvCxnSpPr>
          <p:spPr>
            <a:xfrm flipV="1">
              <a:off x="1162725" y="2419351"/>
              <a:ext cx="0" cy="207467"/>
            </a:xfrm>
            <a:prstGeom prst="straightConnector1">
              <a:avLst/>
            </a:prstGeom>
            <a:ln w="8096"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CD75AD8A-7FF2-8560-7901-E2D48E3306E3}"/>
                </a:ext>
              </a:extLst>
            </p:cNvPr>
            <p:cNvSpPr txBox="1"/>
            <p:nvPr/>
          </p:nvSpPr>
          <p:spPr>
            <a:xfrm>
              <a:off x="1359936" y="1382103"/>
              <a:ext cx="960681" cy="2186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360">
                  <a:latin typeface="+mn-lt"/>
                </a:rPr>
                <a:t>similarity</a:t>
              </a:r>
            </a:p>
          </p:txBody>
        </p:sp>
        <p:cxnSp>
          <p:nvCxnSpPr>
            <p:cNvPr id="49" name="Gewinkelte Verbindung 48">
              <a:extLst>
                <a:ext uri="{FF2B5EF4-FFF2-40B4-BE49-F238E27FC236}">
                  <a16:creationId xmlns:a16="http://schemas.microsoft.com/office/drawing/2014/main" id="{30093AF0-3AC0-799C-83B7-08F1AE9F71BF}"/>
                </a:ext>
              </a:extLst>
            </p:cNvPr>
            <p:cNvCxnSpPr>
              <a:cxnSpLocks/>
              <a:stCxn id="31" idx="0"/>
              <a:endCxn id="45" idx="3"/>
            </p:cNvCxnSpPr>
            <p:nvPr/>
          </p:nvCxnSpPr>
          <p:spPr>
            <a:xfrm rot="16200000" flipV="1">
              <a:off x="1839064" y="1972981"/>
              <a:ext cx="1135390" cy="172284"/>
            </a:xfrm>
            <a:prstGeom prst="bentConnector2">
              <a:avLst/>
            </a:prstGeom>
            <a:ln w="8096"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winkelte Verbindung 50">
              <a:extLst>
                <a:ext uri="{FF2B5EF4-FFF2-40B4-BE49-F238E27FC236}">
                  <a16:creationId xmlns:a16="http://schemas.microsoft.com/office/drawing/2014/main" id="{66F9EBD7-26CC-8674-71B1-9F5390664471}"/>
                </a:ext>
              </a:extLst>
            </p:cNvPr>
            <p:cNvCxnSpPr>
              <a:cxnSpLocks/>
              <a:stCxn id="27" idx="0"/>
              <a:endCxn id="45" idx="1"/>
            </p:cNvCxnSpPr>
            <p:nvPr/>
          </p:nvCxnSpPr>
          <p:spPr>
            <a:xfrm rot="5400000" flipH="1" flipV="1">
              <a:off x="1047069" y="1607084"/>
              <a:ext cx="428522" cy="197211"/>
            </a:xfrm>
            <a:prstGeom prst="bentConnector2">
              <a:avLst/>
            </a:prstGeom>
            <a:ln w="8096"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winkelte Verbindung 54">
              <a:extLst>
                <a:ext uri="{FF2B5EF4-FFF2-40B4-BE49-F238E27FC236}">
                  <a16:creationId xmlns:a16="http://schemas.microsoft.com/office/drawing/2014/main" id="{3DF6A1F7-E065-7993-D6E2-C4F0711531D7}"/>
                </a:ext>
              </a:extLst>
            </p:cNvPr>
            <p:cNvCxnSpPr>
              <a:cxnSpLocks/>
              <a:stCxn id="45" idx="0"/>
              <a:endCxn id="27" idx="1"/>
            </p:cNvCxnSpPr>
            <p:nvPr/>
          </p:nvCxnSpPr>
          <p:spPr>
            <a:xfrm rot="16200000" flipH="1" flipV="1">
              <a:off x="889334" y="1218708"/>
              <a:ext cx="787548" cy="1114338"/>
            </a:xfrm>
            <a:prstGeom prst="bentConnector4">
              <a:avLst>
                <a:gd name="adj1" fmla="val -29027"/>
                <a:gd name="adj2" fmla="val 120514"/>
              </a:avLst>
            </a:prstGeom>
            <a:ln w="8096"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3AC0C616-1A29-A3C0-14A1-36CCDBDE7E58}"/>
                </a:ext>
              </a:extLst>
            </p:cNvPr>
            <p:cNvSpPr txBox="1"/>
            <p:nvPr/>
          </p:nvSpPr>
          <p:spPr>
            <a:xfrm>
              <a:off x="40345" y="1232915"/>
              <a:ext cx="1003905" cy="45724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360" dirty="0">
                  <a:latin typeface="+mn-lt"/>
                </a:rPr>
                <a:t>feedback loop</a:t>
              </a:r>
            </a:p>
          </p:txBody>
        </p:sp>
        <p:cxnSp>
          <p:nvCxnSpPr>
            <p:cNvPr id="62" name="Gewinkelte Verbindung 61">
              <a:extLst>
                <a:ext uri="{FF2B5EF4-FFF2-40B4-BE49-F238E27FC236}">
                  <a16:creationId xmlns:a16="http://schemas.microsoft.com/office/drawing/2014/main" id="{15BDB44E-6EC2-9D05-A84A-956F7928B4BD}"/>
                </a:ext>
              </a:extLst>
            </p:cNvPr>
            <p:cNvCxnSpPr>
              <a:cxnSpLocks/>
              <a:endCxn id="30" idx="1"/>
            </p:cNvCxnSpPr>
            <p:nvPr/>
          </p:nvCxnSpPr>
          <p:spPr>
            <a:xfrm rot="16200000" flipH="1">
              <a:off x="257998" y="2408578"/>
              <a:ext cx="706868" cy="229014"/>
            </a:xfrm>
            <a:prstGeom prst="bentConnector2">
              <a:avLst/>
            </a:prstGeom>
            <a:ln w="8096"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Rechteckige Legende 65">
              <a:extLst>
                <a:ext uri="{FF2B5EF4-FFF2-40B4-BE49-F238E27FC236}">
                  <a16:creationId xmlns:a16="http://schemas.microsoft.com/office/drawing/2014/main" id="{27EF6D2D-B480-2D66-FBCE-070E18F518D5}"/>
                </a:ext>
              </a:extLst>
            </p:cNvPr>
            <p:cNvSpPr/>
            <p:nvPr/>
          </p:nvSpPr>
          <p:spPr>
            <a:xfrm>
              <a:off x="2666423" y="4372888"/>
              <a:ext cx="1234691" cy="317432"/>
            </a:xfrm>
            <a:prstGeom prst="wedgeRectCallout">
              <a:avLst>
                <a:gd name="adj1" fmla="val -74370"/>
                <a:gd name="adj2" fmla="val -27747"/>
              </a:avLst>
            </a:prstGeom>
            <a:ln w="2159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190"/>
                <a:t>input image</a:t>
              </a:r>
            </a:p>
          </p:txBody>
        </p:sp>
        <p:sp>
          <p:nvSpPr>
            <p:cNvPr id="67" name="Rechteckige Legende 66">
              <a:extLst>
                <a:ext uri="{FF2B5EF4-FFF2-40B4-BE49-F238E27FC236}">
                  <a16:creationId xmlns:a16="http://schemas.microsoft.com/office/drawing/2014/main" id="{743B3747-EA94-744D-8928-2AC6CE58F15D}"/>
                </a:ext>
              </a:extLst>
            </p:cNvPr>
            <p:cNvSpPr/>
            <p:nvPr/>
          </p:nvSpPr>
          <p:spPr>
            <a:xfrm>
              <a:off x="3283768" y="3786044"/>
              <a:ext cx="1711865" cy="317432"/>
            </a:xfrm>
            <a:prstGeom prst="wedgeRectCallout">
              <a:avLst>
                <a:gd name="adj1" fmla="val -65419"/>
                <a:gd name="adj2" fmla="val -58987"/>
              </a:avLst>
            </a:prstGeom>
            <a:ln w="2159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190"/>
                <a:t>augmented images</a:t>
              </a:r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4A9641FD-81F3-AE56-097F-EA042F2CF0B3}"/>
              </a:ext>
            </a:extLst>
          </p:cNvPr>
          <p:cNvGrpSpPr/>
          <p:nvPr/>
        </p:nvGrpSpPr>
        <p:grpSpPr>
          <a:xfrm>
            <a:off x="6356523" y="3209100"/>
            <a:ext cx="873573" cy="793771"/>
            <a:chOff x="78338" y="2343809"/>
            <a:chExt cx="1097751" cy="914400"/>
          </a:xfrm>
        </p:grpSpPr>
        <p:pic>
          <p:nvPicPr>
            <p:cNvPr id="69" name="Grafik 68" descr="Cabriolet mit einfarbiger Füllung">
              <a:extLst>
                <a:ext uri="{FF2B5EF4-FFF2-40B4-BE49-F238E27FC236}">
                  <a16:creationId xmlns:a16="http://schemas.microsoft.com/office/drawing/2014/main" id="{A63B81C6-B385-6FD9-2CC0-9C42B61E899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86188" y="2343809"/>
              <a:ext cx="914401" cy="914400"/>
            </a:xfrm>
            <a:prstGeom prst="rect">
              <a:avLst/>
            </a:prstGeom>
          </p:spPr>
        </p:pic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640FDFE3-D700-EE9A-80E7-1F724C3A871B}"/>
                </a:ext>
              </a:extLst>
            </p:cNvPr>
            <p:cNvSpPr/>
            <p:nvPr/>
          </p:nvSpPr>
          <p:spPr>
            <a:xfrm>
              <a:off x="78338" y="2532530"/>
              <a:ext cx="1097751" cy="575295"/>
            </a:xfrm>
            <a:prstGeom prst="rect">
              <a:avLst/>
            </a:prstGeom>
            <a:noFill/>
            <a:ln w="3302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8872" tIns="59436" rIns="118872" bIns="5943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</p:grpSp>
      <p:sp>
        <p:nvSpPr>
          <p:cNvPr id="71" name="Rechteck 70">
            <a:extLst>
              <a:ext uri="{FF2B5EF4-FFF2-40B4-BE49-F238E27FC236}">
                <a16:creationId xmlns:a16="http://schemas.microsoft.com/office/drawing/2014/main" id="{AB67D82B-1F3D-E431-285B-5A65C7F72478}"/>
              </a:ext>
            </a:extLst>
          </p:cNvPr>
          <p:cNvSpPr/>
          <p:nvPr/>
        </p:nvSpPr>
        <p:spPr>
          <a:xfrm>
            <a:off x="6356523" y="2592236"/>
            <a:ext cx="873572" cy="499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encoder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E59C0218-F1DD-170B-A822-2939C954DF57}"/>
              </a:ext>
            </a:extLst>
          </p:cNvPr>
          <p:cNvSpPr/>
          <p:nvPr/>
        </p:nvSpPr>
        <p:spPr>
          <a:xfrm>
            <a:off x="6356523" y="1884291"/>
            <a:ext cx="873572" cy="499401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KNN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A231B40-2997-B14C-B589-F34FF925FC13}"/>
              </a:ext>
            </a:extLst>
          </p:cNvPr>
          <p:cNvSpPr txBox="1"/>
          <p:nvPr/>
        </p:nvSpPr>
        <p:spPr>
          <a:xfrm>
            <a:off x="452457" y="1301127"/>
            <a:ext cx="3000821" cy="2893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>
                <a:latin typeface="+mn-lt"/>
              </a:rPr>
              <a:t>1. Backbone encoder training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2060402-C7D5-5621-3B37-FBDD35BB3FAE}"/>
              </a:ext>
            </a:extLst>
          </p:cNvPr>
          <p:cNvSpPr txBox="1"/>
          <p:nvPr/>
        </p:nvSpPr>
        <p:spPr>
          <a:xfrm>
            <a:off x="5024457" y="1301127"/>
            <a:ext cx="3282950" cy="2893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>
                <a:latin typeface="+mn-lt"/>
              </a:rPr>
              <a:t>2. Classifier fitting and inference</a:t>
            </a: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66565CAA-CC13-EC59-8ED7-682B2665E856}"/>
              </a:ext>
            </a:extLst>
          </p:cNvPr>
          <p:cNvCxnSpPr>
            <a:cxnSpLocks/>
            <a:endCxn id="71" idx="2"/>
          </p:cNvCxnSpPr>
          <p:nvPr/>
        </p:nvCxnSpPr>
        <p:spPr>
          <a:xfrm flipV="1">
            <a:off x="6793309" y="3091637"/>
            <a:ext cx="0" cy="281288"/>
          </a:xfrm>
          <a:prstGeom prst="straightConnector1">
            <a:avLst/>
          </a:prstGeom>
          <a:ln w="8096"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ECFB0102-D0D9-9A45-B584-19354C16CC7A}"/>
              </a:ext>
            </a:extLst>
          </p:cNvPr>
          <p:cNvCxnSpPr>
            <a:cxnSpLocks/>
            <a:stCxn id="71" idx="0"/>
            <a:endCxn id="72" idx="2"/>
          </p:cNvCxnSpPr>
          <p:nvPr/>
        </p:nvCxnSpPr>
        <p:spPr>
          <a:xfrm flipV="1">
            <a:off x="6793309" y="2383692"/>
            <a:ext cx="0" cy="208544"/>
          </a:xfrm>
          <a:prstGeom prst="straightConnector1">
            <a:avLst/>
          </a:prstGeom>
          <a:ln w="8096"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ige Legende 81">
            <a:extLst>
              <a:ext uri="{FF2B5EF4-FFF2-40B4-BE49-F238E27FC236}">
                <a16:creationId xmlns:a16="http://schemas.microsoft.com/office/drawing/2014/main" id="{627DD5FE-9AD5-D7F1-3D34-48AB31004588}"/>
              </a:ext>
            </a:extLst>
          </p:cNvPr>
          <p:cNvSpPr/>
          <p:nvPr/>
        </p:nvSpPr>
        <p:spPr>
          <a:xfrm>
            <a:off x="4637450" y="2205884"/>
            <a:ext cx="1455085" cy="478593"/>
          </a:xfrm>
          <a:prstGeom prst="wedgeRectCallout">
            <a:avLst>
              <a:gd name="adj1" fmla="val 63978"/>
              <a:gd name="adj2" fmla="val -58601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190"/>
              <a:t>K-Nearest neighbor classifier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C71777F1-CCB8-C482-8546-DE3F0FC01CEE}"/>
              </a:ext>
            </a:extLst>
          </p:cNvPr>
          <p:cNvSpPr txBox="1"/>
          <p:nvPr/>
        </p:nvSpPr>
        <p:spPr>
          <a:xfrm>
            <a:off x="5364993" y="4275257"/>
            <a:ext cx="2532820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First accuracy results: </a:t>
            </a:r>
            <a:r>
              <a:rPr lang="en-US" sz="1600" b="1">
                <a:latin typeface="+mn-lt"/>
              </a:rPr>
              <a:t>66%</a:t>
            </a: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49C33BE6-1AA8-8751-AA09-1A2EB758E2B4}"/>
              </a:ext>
            </a:extLst>
          </p:cNvPr>
          <p:cNvSpPr txBox="1"/>
          <p:nvPr/>
        </p:nvSpPr>
        <p:spPr>
          <a:xfrm>
            <a:off x="6808947" y="2377839"/>
            <a:ext cx="1049487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360">
                <a:latin typeface="+mn-lt"/>
              </a:rPr>
              <a:t>embeddings</a:t>
            </a:r>
          </a:p>
        </p:txBody>
      </p:sp>
      <p:sp>
        <p:nvSpPr>
          <p:cNvPr id="87" name="Rechteckige Legende 86">
            <a:extLst>
              <a:ext uri="{FF2B5EF4-FFF2-40B4-BE49-F238E27FC236}">
                <a16:creationId xmlns:a16="http://schemas.microsoft.com/office/drawing/2014/main" id="{69B0A79B-5A24-2351-F9F5-50EBC87B4778}"/>
              </a:ext>
            </a:extLst>
          </p:cNvPr>
          <p:cNvSpPr/>
          <p:nvPr/>
        </p:nvSpPr>
        <p:spPr>
          <a:xfrm>
            <a:off x="7494083" y="2868875"/>
            <a:ext cx="1165388" cy="478593"/>
          </a:xfrm>
          <a:prstGeom prst="wedgeRectCallout">
            <a:avLst>
              <a:gd name="adj1" fmla="val -35770"/>
              <a:gd name="adj2" fmla="val -96227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190"/>
              <a:t>dimensionality reduced</a:t>
            </a:r>
          </a:p>
        </p:txBody>
      </p:sp>
      <p:sp>
        <p:nvSpPr>
          <p:cNvPr id="46" name="Fußzeilenplatzhalter 4">
            <a:extLst>
              <a:ext uri="{FF2B5EF4-FFF2-40B4-BE49-F238E27FC236}">
                <a16:creationId xmlns:a16="http://schemas.microsoft.com/office/drawing/2014/main" id="{B9594522-059E-D21A-2DB6-2CF32FC3BBC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>
                <a:latin typeface="Arial"/>
                <a:cs typeface="Arial"/>
              </a:rPr>
              <a:t>processing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de-DE" b="1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763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820738"/>
          </a:xfrm>
        </p:spPr>
        <p:txBody>
          <a:bodyPr vert="horz"/>
          <a:lstStyle/>
          <a:p>
            <a:r>
              <a:rPr lang="en-US"/>
              <a:t>Challenges and planned refinements for the Simple Siamese Network approach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C6ED52FC-9378-554A-E9F0-9F7C1D50E339}"/>
              </a:ext>
            </a:extLst>
          </p:cNvPr>
          <p:cNvSpPr txBox="1"/>
          <p:nvPr/>
        </p:nvSpPr>
        <p:spPr>
          <a:xfrm>
            <a:off x="1063186" y="1941091"/>
            <a:ext cx="3105907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Currently only small set of images for training the Siamese Network</a:t>
            </a:r>
            <a:endParaRPr lang="en-US" sz="1600" b="1" dirty="0">
              <a:latin typeface="+mn-lt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8373695B-6480-C093-0F7B-6F8380DE200A}"/>
              </a:ext>
            </a:extLst>
          </p:cNvPr>
          <p:cNvSpPr txBox="1"/>
          <p:nvPr/>
        </p:nvSpPr>
        <p:spPr>
          <a:xfrm>
            <a:off x="5629623" y="1560332"/>
            <a:ext cx="3105907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Make use of more </a:t>
            </a:r>
            <a:r>
              <a:rPr lang="en-US" sz="1600" b="1">
                <a:latin typeface="+mn-lt"/>
              </a:rPr>
              <a:t>data augmentation </a:t>
            </a:r>
            <a:r>
              <a:rPr lang="en-US" sz="1600">
                <a:latin typeface="+mn-lt"/>
              </a:rPr>
              <a:t>techniques</a:t>
            </a:r>
            <a:endParaRPr lang="en-US" sz="1600" b="1">
              <a:latin typeface="+mn-lt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BA8DFF5E-3F65-782B-CBA3-BBC66818F018}"/>
              </a:ext>
            </a:extLst>
          </p:cNvPr>
          <p:cNvSpPr txBox="1"/>
          <p:nvPr/>
        </p:nvSpPr>
        <p:spPr>
          <a:xfrm>
            <a:off x="5629623" y="2321849"/>
            <a:ext cx="3105907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Test performance with </a:t>
            </a:r>
            <a:r>
              <a:rPr lang="en-US" sz="1600" b="1">
                <a:latin typeface="+mn-lt"/>
              </a:rPr>
              <a:t>larger dataset </a:t>
            </a:r>
            <a:r>
              <a:rPr lang="en-US" sz="1600">
                <a:latin typeface="+mn-lt"/>
              </a:rPr>
              <a:t>of “undamaged cars”</a:t>
            </a:r>
            <a:endParaRPr lang="en-US" sz="1600" b="1">
              <a:latin typeface="+mn-lt"/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F43FAD92-EDB3-024D-BD2A-3EAB85499B48}"/>
              </a:ext>
            </a:extLst>
          </p:cNvPr>
          <p:cNvSpPr txBox="1"/>
          <p:nvPr/>
        </p:nvSpPr>
        <p:spPr>
          <a:xfrm>
            <a:off x="5629623" y="3083366"/>
            <a:ext cx="3105907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Test </a:t>
            </a:r>
            <a:r>
              <a:rPr lang="en-US" sz="1600" b="1">
                <a:latin typeface="+mn-lt"/>
              </a:rPr>
              <a:t>different models </a:t>
            </a:r>
            <a:r>
              <a:rPr lang="en-US" sz="1600">
                <a:latin typeface="+mn-lt"/>
              </a:rPr>
              <a:t>for classification of embeddings 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FAB4F8D9-ED66-6BB1-6224-4FA17A09D40A}"/>
              </a:ext>
            </a:extLst>
          </p:cNvPr>
          <p:cNvSpPr txBox="1"/>
          <p:nvPr/>
        </p:nvSpPr>
        <p:spPr>
          <a:xfrm>
            <a:off x="1063186" y="3464125"/>
            <a:ext cx="3105907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Until now only KNN tested as classifier</a:t>
            </a:r>
            <a:endParaRPr lang="en-US" sz="1600" b="1" dirty="0">
              <a:latin typeface="+mn-lt"/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696061D1-1EB2-BC5A-6A85-6E0D8D8464E9}"/>
              </a:ext>
            </a:extLst>
          </p:cNvPr>
          <p:cNvSpPr txBox="1"/>
          <p:nvPr/>
        </p:nvSpPr>
        <p:spPr>
          <a:xfrm>
            <a:off x="5629623" y="3844883"/>
            <a:ext cx="3105907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b="1">
                <a:latin typeface="+mn-lt"/>
              </a:rPr>
              <a:t>Evaluate influence </a:t>
            </a:r>
            <a:r>
              <a:rPr lang="en-US" sz="1600">
                <a:latin typeface="+mn-lt"/>
              </a:rPr>
              <a:t>of classifier and encoder on accuracy</a:t>
            </a:r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A5C88A4C-B512-D303-4FE0-7B668BFAC469}"/>
              </a:ext>
            </a:extLst>
          </p:cNvPr>
          <p:cNvCxnSpPr/>
          <p:nvPr/>
        </p:nvCxnSpPr>
        <p:spPr>
          <a:xfrm>
            <a:off x="342000" y="2954817"/>
            <a:ext cx="846000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3" name="Oval 20">
            <a:extLst>
              <a:ext uri="{FF2B5EF4-FFF2-40B4-BE49-F238E27FC236}">
                <a16:creationId xmlns:a16="http://schemas.microsoft.com/office/drawing/2014/main" id="{3070F70A-B5AE-A6BA-8666-3ECCDB30931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5234" y="3555369"/>
            <a:ext cx="355480" cy="3554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4" name="Oval 20">
            <a:extLst>
              <a:ext uri="{FF2B5EF4-FFF2-40B4-BE49-F238E27FC236}">
                <a16:creationId xmlns:a16="http://schemas.microsoft.com/office/drawing/2014/main" id="{9E587D28-8B63-03C5-1521-17B521A4649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5234" y="2032335"/>
            <a:ext cx="355480" cy="3554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58" name="Group 44">
            <a:extLst>
              <a:ext uri="{FF2B5EF4-FFF2-40B4-BE49-F238E27FC236}">
                <a16:creationId xmlns:a16="http://schemas.microsoft.com/office/drawing/2014/main" id="{678647AA-6F8C-B547-F3C5-899FAF65952F}"/>
              </a:ext>
            </a:extLst>
          </p:cNvPr>
          <p:cNvGrpSpPr>
            <a:grpSpLocks noChangeAspect="1"/>
          </p:cNvGrpSpPr>
          <p:nvPr/>
        </p:nvGrpSpPr>
        <p:grpSpPr>
          <a:xfrm>
            <a:off x="5144035" y="3936127"/>
            <a:ext cx="355480" cy="355480"/>
            <a:chOff x="982662" y="1847850"/>
            <a:chExt cx="269875" cy="269875"/>
          </a:xfrm>
        </p:grpSpPr>
        <p:sp>
          <p:nvSpPr>
            <p:cNvPr id="59" name="Oval 50">
              <a:extLst>
                <a:ext uri="{FF2B5EF4-FFF2-40B4-BE49-F238E27FC236}">
                  <a16:creationId xmlns:a16="http://schemas.microsoft.com/office/drawing/2014/main" id="{4A16AD79-41BF-94B8-F030-FAB6F6DB5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EC9A8E7C-F272-C1C9-15B8-8615581D1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61" name="Group 44">
            <a:extLst>
              <a:ext uri="{FF2B5EF4-FFF2-40B4-BE49-F238E27FC236}">
                <a16:creationId xmlns:a16="http://schemas.microsoft.com/office/drawing/2014/main" id="{C57B57C7-1538-B63B-2631-4679B4D884E5}"/>
              </a:ext>
            </a:extLst>
          </p:cNvPr>
          <p:cNvGrpSpPr>
            <a:grpSpLocks noChangeAspect="1"/>
          </p:cNvGrpSpPr>
          <p:nvPr/>
        </p:nvGrpSpPr>
        <p:grpSpPr>
          <a:xfrm>
            <a:off x="5144035" y="3174610"/>
            <a:ext cx="355480" cy="355480"/>
            <a:chOff x="982662" y="1847850"/>
            <a:chExt cx="269875" cy="269875"/>
          </a:xfrm>
        </p:grpSpPr>
        <p:sp>
          <p:nvSpPr>
            <p:cNvPr id="63" name="Oval 50">
              <a:extLst>
                <a:ext uri="{FF2B5EF4-FFF2-40B4-BE49-F238E27FC236}">
                  <a16:creationId xmlns:a16="http://schemas.microsoft.com/office/drawing/2014/main" id="{DA4B6CBC-91AD-5673-857A-941191BB0C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4" name="Freeform 51">
              <a:extLst>
                <a:ext uri="{FF2B5EF4-FFF2-40B4-BE49-F238E27FC236}">
                  <a16:creationId xmlns:a16="http://schemas.microsoft.com/office/drawing/2014/main" id="{E56EEBF6-2B5F-3176-FBA2-A08D066CF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65" name="Group 44">
            <a:extLst>
              <a:ext uri="{FF2B5EF4-FFF2-40B4-BE49-F238E27FC236}">
                <a16:creationId xmlns:a16="http://schemas.microsoft.com/office/drawing/2014/main" id="{F55C98F7-D71E-2B11-D26A-8DC2F5432B14}"/>
              </a:ext>
            </a:extLst>
          </p:cNvPr>
          <p:cNvGrpSpPr>
            <a:grpSpLocks noChangeAspect="1"/>
          </p:cNvGrpSpPr>
          <p:nvPr/>
        </p:nvGrpSpPr>
        <p:grpSpPr>
          <a:xfrm>
            <a:off x="5144035" y="2413093"/>
            <a:ext cx="355480" cy="355480"/>
            <a:chOff x="982662" y="1847850"/>
            <a:chExt cx="269875" cy="269875"/>
          </a:xfrm>
        </p:grpSpPr>
        <p:sp>
          <p:nvSpPr>
            <p:cNvPr id="77" name="Oval 50">
              <a:extLst>
                <a:ext uri="{FF2B5EF4-FFF2-40B4-BE49-F238E27FC236}">
                  <a16:creationId xmlns:a16="http://schemas.microsoft.com/office/drawing/2014/main" id="{FAE9F6DF-89B8-2C0C-5F67-552EA2490E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8" name="Freeform 51">
              <a:extLst>
                <a:ext uri="{FF2B5EF4-FFF2-40B4-BE49-F238E27FC236}">
                  <a16:creationId xmlns:a16="http://schemas.microsoft.com/office/drawing/2014/main" id="{C30C6370-AC51-EC33-B7B3-E572916793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0" name="Group 44">
            <a:extLst>
              <a:ext uri="{FF2B5EF4-FFF2-40B4-BE49-F238E27FC236}">
                <a16:creationId xmlns:a16="http://schemas.microsoft.com/office/drawing/2014/main" id="{9DF986BC-0EE8-4451-098E-98659D009EF3}"/>
              </a:ext>
            </a:extLst>
          </p:cNvPr>
          <p:cNvGrpSpPr>
            <a:grpSpLocks noChangeAspect="1"/>
          </p:cNvGrpSpPr>
          <p:nvPr/>
        </p:nvGrpSpPr>
        <p:grpSpPr>
          <a:xfrm>
            <a:off x="5144035" y="1651576"/>
            <a:ext cx="355480" cy="355480"/>
            <a:chOff x="982662" y="1847850"/>
            <a:chExt cx="269875" cy="269875"/>
          </a:xfrm>
        </p:grpSpPr>
        <p:sp>
          <p:nvSpPr>
            <p:cNvPr id="81" name="Oval 50">
              <a:extLst>
                <a:ext uri="{FF2B5EF4-FFF2-40B4-BE49-F238E27FC236}">
                  <a16:creationId xmlns:a16="http://schemas.microsoft.com/office/drawing/2014/main" id="{3758D963-12F1-EFF3-02DA-45289AB510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4" name="Freeform 51">
              <a:extLst>
                <a:ext uri="{FF2B5EF4-FFF2-40B4-BE49-F238E27FC236}">
                  <a16:creationId xmlns:a16="http://schemas.microsoft.com/office/drawing/2014/main" id="{E72FE23D-BADF-9CEE-1DBB-7EC5C76AC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F74C5AE5-1C29-ECE5-0C00-3A1E4AEF85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>
                <a:latin typeface="Arial"/>
                <a:cs typeface="Arial"/>
              </a:rPr>
              <a:t>processing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de-DE" b="1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06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US"/>
              <a:t>Challenges we are facing in our team</a:t>
            </a:r>
            <a:endParaRPr lang="en-US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8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" name="Group 31">
            <a:extLst>
              <a:ext uri="{FF2B5EF4-FFF2-40B4-BE49-F238E27FC236}">
                <a16:creationId xmlns:a16="http://schemas.microsoft.com/office/drawing/2014/main" id="{6FDD9F5D-8317-EE1A-4EB8-37418183A382}"/>
              </a:ext>
            </a:extLst>
          </p:cNvPr>
          <p:cNvGrpSpPr>
            <a:grpSpLocks noChangeAspect="1"/>
          </p:cNvGrpSpPr>
          <p:nvPr/>
        </p:nvGrpSpPr>
        <p:grpSpPr>
          <a:xfrm>
            <a:off x="304298" y="3349163"/>
            <a:ext cx="832840" cy="833612"/>
            <a:chOff x="5273801" y="2606040"/>
            <a:chExt cx="1644396" cy="1645920"/>
          </a:xfrm>
        </p:grpSpPr>
        <p:sp>
          <p:nvSpPr>
            <p:cNvPr id="29" name="AutoShape 3">
              <a:extLst>
                <a:ext uri="{FF2B5EF4-FFF2-40B4-BE49-F238E27FC236}">
                  <a16:creationId xmlns:a16="http://schemas.microsoft.com/office/drawing/2014/main" id="{E0AE67CE-D1F9-D63E-4976-DA3D212236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0" name="Group 39">
              <a:extLst>
                <a:ext uri="{FF2B5EF4-FFF2-40B4-BE49-F238E27FC236}">
                  <a16:creationId xmlns:a16="http://schemas.microsoft.com/office/drawing/2014/main" id="{16EDDCDC-DB2F-5044-9748-B38DF19C7B3D}"/>
                </a:ext>
              </a:extLst>
            </p:cNvPr>
            <p:cNvGrpSpPr/>
            <p:nvPr/>
          </p:nvGrpSpPr>
          <p:grpSpPr>
            <a:xfrm>
              <a:off x="5288660" y="2882646"/>
              <a:ext cx="1615821" cy="1092327"/>
              <a:chOff x="5288660" y="2882646"/>
              <a:chExt cx="1615821" cy="1092327"/>
            </a:xfrm>
          </p:grpSpPr>
          <p:sp>
            <p:nvSpPr>
              <p:cNvPr id="31" name="Freeform 5">
                <a:extLst>
                  <a:ext uri="{FF2B5EF4-FFF2-40B4-BE49-F238E27FC236}">
                    <a16:creationId xmlns:a16="http://schemas.microsoft.com/office/drawing/2014/main" id="{B8A5D799-186C-FA8A-0B04-FDDE1B3AE2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60110" y="2882646"/>
                <a:ext cx="1273302" cy="1092327"/>
              </a:xfrm>
              <a:custGeom>
                <a:avLst/>
                <a:gdLst>
                  <a:gd name="T0" fmla="*/ 592 w 1784"/>
                  <a:gd name="T1" fmla="*/ 1116 h 1529"/>
                  <a:gd name="T2" fmla="*/ 597 w 1784"/>
                  <a:gd name="T3" fmla="*/ 1244 h 1529"/>
                  <a:gd name="T4" fmla="*/ 388 w 1784"/>
                  <a:gd name="T5" fmla="*/ 1353 h 1529"/>
                  <a:gd name="T6" fmla="*/ 366 w 1784"/>
                  <a:gd name="T7" fmla="*/ 1529 h 1529"/>
                  <a:gd name="T8" fmla="*/ 14 w 1784"/>
                  <a:gd name="T9" fmla="*/ 1467 h 1529"/>
                  <a:gd name="T10" fmla="*/ 0 w 1784"/>
                  <a:gd name="T11" fmla="*/ 1286 h 1529"/>
                  <a:gd name="T12" fmla="*/ 44 w 1784"/>
                  <a:gd name="T13" fmla="*/ 1319 h 1529"/>
                  <a:gd name="T14" fmla="*/ 344 w 1784"/>
                  <a:gd name="T15" fmla="*/ 1484 h 1529"/>
                  <a:gd name="T16" fmla="*/ 351 w 1784"/>
                  <a:gd name="T17" fmla="*/ 1311 h 1529"/>
                  <a:gd name="T18" fmla="*/ 546 w 1784"/>
                  <a:gd name="T19" fmla="*/ 1304 h 1529"/>
                  <a:gd name="T20" fmla="*/ 554 w 1784"/>
                  <a:gd name="T21" fmla="*/ 1234 h 1529"/>
                  <a:gd name="T22" fmla="*/ 552 w 1784"/>
                  <a:gd name="T23" fmla="*/ 1078 h 1529"/>
                  <a:gd name="T24" fmla="*/ 639 w 1784"/>
                  <a:gd name="T25" fmla="*/ 1054 h 1529"/>
                  <a:gd name="T26" fmla="*/ 600 w 1784"/>
                  <a:gd name="T27" fmla="*/ 1007 h 1529"/>
                  <a:gd name="T28" fmla="*/ 547 w 1784"/>
                  <a:gd name="T29" fmla="*/ 872 h 1529"/>
                  <a:gd name="T30" fmla="*/ 529 w 1784"/>
                  <a:gd name="T31" fmla="*/ 752 h 1529"/>
                  <a:gd name="T32" fmla="*/ 573 w 1784"/>
                  <a:gd name="T33" fmla="*/ 748 h 1529"/>
                  <a:gd name="T34" fmla="*/ 591 w 1784"/>
                  <a:gd name="T35" fmla="*/ 869 h 1529"/>
                  <a:gd name="T36" fmla="*/ 633 w 1784"/>
                  <a:gd name="T37" fmla="*/ 978 h 1529"/>
                  <a:gd name="T38" fmla="*/ 682 w 1784"/>
                  <a:gd name="T39" fmla="*/ 1066 h 1529"/>
                  <a:gd name="T40" fmla="*/ 1740 w 1784"/>
                  <a:gd name="T41" fmla="*/ 1319 h 1529"/>
                  <a:gd name="T42" fmla="*/ 1440 w 1784"/>
                  <a:gd name="T43" fmla="*/ 1484 h 1529"/>
                  <a:gd name="T44" fmla="*/ 1433 w 1784"/>
                  <a:gd name="T45" fmla="*/ 1311 h 1529"/>
                  <a:gd name="T46" fmla="*/ 1238 w 1784"/>
                  <a:gd name="T47" fmla="*/ 1304 h 1529"/>
                  <a:gd name="T48" fmla="*/ 1230 w 1784"/>
                  <a:gd name="T49" fmla="*/ 1234 h 1529"/>
                  <a:gd name="T50" fmla="*/ 1232 w 1784"/>
                  <a:gd name="T51" fmla="*/ 1078 h 1529"/>
                  <a:gd name="T52" fmla="*/ 1145 w 1784"/>
                  <a:gd name="T53" fmla="*/ 1054 h 1529"/>
                  <a:gd name="T54" fmla="*/ 1184 w 1784"/>
                  <a:gd name="T55" fmla="*/ 1007 h 1529"/>
                  <a:gd name="T56" fmla="*/ 1237 w 1784"/>
                  <a:gd name="T57" fmla="*/ 872 h 1529"/>
                  <a:gd name="T58" fmla="*/ 1255 w 1784"/>
                  <a:gd name="T59" fmla="*/ 752 h 1529"/>
                  <a:gd name="T60" fmla="*/ 1211 w 1784"/>
                  <a:gd name="T61" fmla="*/ 748 h 1529"/>
                  <a:gd name="T62" fmla="*/ 1193 w 1784"/>
                  <a:gd name="T63" fmla="*/ 869 h 1529"/>
                  <a:gd name="T64" fmla="*/ 1151 w 1784"/>
                  <a:gd name="T65" fmla="*/ 978 h 1529"/>
                  <a:gd name="T66" fmla="*/ 1102 w 1784"/>
                  <a:gd name="T67" fmla="*/ 1066 h 1529"/>
                  <a:gd name="T68" fmla="*/ 1187 w 1784"/>
                  <a:gd name="T69" fmla="*/ 1237 h 1529"/>
                  <a:gd name="T70" fmla="*/ 1217 w 1784"/>
                  <a:gd name="T71" fmla="*/ 1342 h 1529"/>
                  <a:gd name="T72" fmla="*/ 1396 w 1784"/>
                  <a:gd name="T73" fmla="*/ 1507 h 1529"/>
                  <a:gd name="T74" fmla="*/ 1419 w 1784"/>
                  <a:gd name="T75" fmla="*/ 1529 h 1529"/>
                  <a:gd name="T76" fmla="*/ 1784 w 1784"/>
                  <a:gd name="T77" fmla="*/ 1447 h 1529"/>
                  <a:gd name="T78" fmla="*/ 1783 w 1784"/>
                  <a:gd name="T79" fmla="*/ 1287 h 1529"/>
                  <a:gd name="T80" fmla="*/ 542 w 1784"/>
                  <a:gd name="T81" fmla="*/ 239 h 1529"/>
                  <a:gd name="T82" fmla="*/ 850 w 1784"/>
                  <a:gd name="T83" fmla="*/ 208 h 1529"/>
                  <a:gd name="T84" fmla="*/ 542 w 1784"/>
                  <a:gd name="T85" fmla="*/ 176 h 1529"/>
                  <a:gd name="T86" fmla="*/ 850 w 1784"/>
                  <a:gd name="T87" fmla="*/ 146 h 1529"/>
                  <a:gd name="T88" fmla="*/ 542 w 1784"/>
                  <a:gd name="T89" fmla="*/ 113 h 1529"/>
                  <a:gd name="T90" fmla="*/ 852 w 1784"/>
                  <a:gd name="T91" fmla="*/ 83 h 1529"/>
                  <a:gd name="T92" fmla="*/ 914 w 1784"/>
                  <a:gd name="T93" fmla="*/ 13 h 1529"/>
                  <a:gd name="T94" fmla="*/ 879 w 1784"/>
                  <a:gd name="T95" fmla="*/ 0 h 1529"/>
                  <a:gd name="T96" fmla="*/ 473 w 1784"/>
                  <a:gd name="T97" fmla="*/ 52 h 1529"/>
                  <a:gd name="T98" fmla="*/ 525 w 1784"/>
                  <a:gd name="T99" fmla="*/ 328 h 1529"/>
                  <a:gd name="T100" fmla="*/ 614 w 1784"/>
                  <a:gd name="T101" fmla="*/ 447 h 1529"/>
                  <a:gd name="T102" fmla="*/ 643 w 1784"/>
                  <a:gd name="T103" fmla="*/ 447 h 1529"/>
                  <a:gd name="T104" fmla="*/ 850 w 1784"/>
                  <a:gd name="T105" fmla="*/ 328 h 1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784" h="1529">
                    <a:moveTo>
                      <a:pt x="682" y="1066"/>
                    </a:moveTo>
                    <a:cubicBezTo>
                      <a:pt x="678" y="1078"/>
                      <a:pt x="660" y="1114"/>
                      <a:pt x="592" y="1116"/>
                    </a:cubicBezTo>
                    <a:cubicBezTo>
                      <a:pt x="595" y="1147"/>
                      <a:pt x="600" y="1202"/>
                      <a:pt x="597" y="1237"/>
                    </a:cubicBezTo>
                    <a:cubicBezTo>
                      <a:pt x="597" y="1244"/>
                      <a:pt x="597" y="1244"/>
                      <a:pt x="597" y="1244"/>
                    </a:cubicBezTo>
                    <a:cubicBezTo>
                      <a:pt x="593" y="1299"/>
                      <a:pt x="591" y="1330"/>
                      <a:pt x="567" y="1342"/>
                    </a:cubicBezTo>
                    <a:cubicBezTo>
                      <a:pt x="548" y="1353"/>
                      <a:pt x="479" y="1362"/>
                      <a:pt x="388" y="1353"/>
                    </a:cubicBezTo>
                    <a:cubicBezTo>
                      <a:pt x="388" y="1507"/>
                      <a:pt x="388" y="1507"/>
                      <a:pt x="388" y="1507"/>
                    </a:cubicBezTo>
                    <a:cubicBezTo>
                      <a:pt x="388" y="1519"/>
                      <a:pt x="378" y="1528"/>
                      <a:pt x="366" y="1529"/>
                    </a:cubicBezTo>
                    <a:cubicBezTo>
                      <a:pt x="366" y="1529"/>
                      <a:pt x="365" y="1529"/>
                      <a:pt x="365" y="1529"/>
                    </a:cubicBezTo>
                    <a:cubicBezTo>
                      <a:pt x="350" y="1529"/>
                      <a:pt x="161" y="1527"/>
                      <a:pt x="14" y="1467"/>
                    </a:cubicBezTo>
                    <a:cubicBezTo>
                      <a:pt x="5" y="1464"/>
                      <a:pt x="0" y="1456"/>
                      <a:pt x="0" y="1447"/>
                    </a:cubicBezTo>
                    <a:cubicBezTo>
                      <a:pt x="0" y="1286"/>
                      <a:pt x="0" y="1286"/>
                      <a:pt x="0" y="1286"/>
                    </a:cubicBezTo>
                    <a:cubicBezTo>
                      <a:pt x="0" y="1286"/>
                      <a:pt x="0" y="1286"/>
                      <a:pt x="1" y="1287"/>
                    </a:cubicBezTo>
                    <a:cubicBezTo>
                      <a:pt x="7" y="1292"/>
                      <a:pt x="28" y="1309"/>
                      <a:pt x="44" y="1319"/>
                    </a:cubicBezTo>
                    <a:cubicBezTo>
                      <a:pt x="44" y="1432"/>
                      <a:pt x="44" y="1432"/>
                      <a:pt x="44" y="1432"/>
                    </a:cubicBezTo>
                    <a:cubicBezTo>
                      <a:pt x="155" y="1474"/>
                      <a:pt x="291" y="1482"/>
                      <a:pt x="344" y="1484"/>
                    </a:cubicBezTo>
                    <a:cubicBezTo>
                      <a:pt x="344" y="1328"/>
                      <a:pt x="344" y="1328"/>
                      <a:pt x="344" y="1328"/>
                    </a:cubicBezTo>
                    <a:cubicBezTo>
                      <a:pt x="344" y="1322"/>
                      <a:pt x="346" y="1316"/>
                      <a:pt x="351" y="1311"/>
                    </a:cubicBezTo>
                    <a:cubicBezTo>
                      <a:pt x="356" y="1307"/>
                      <a:pt x="362" y="1305"/>
                      <a:pt x="369" y="1306"/>
                    </a:cubicBezTo>
                    <a:cubicBezTo>
                      <a:pt x="466" y="1319"/>
                      <a:pt x="531" y="1309"/>
                      <a:pt x="546" y="1304"/>
                    </a:cubicBezTo>
                    <a:cubicBezTo>
                      <a:pt x="550" y="1296"/>
                      <a:pt x="551" y="1267"/>
                      <a:pt x="553" y="1241"/>
                    </a:cubicBezTo>
                    <a:cubicBezTo>
                      <a:pt x="554" y="1234"/>
                      <a:pt x="554" y="1234"/>
                      <a:pt x="554" y="1234"/>
                    </a:cubicBezTo>
                    <a:cubicBezTo>
                      <a:pt x="557" y="1187"/>
                      <a:pt x="546" y="1096"/>
                      <a:pt x="546" y="1096"/>
                    </a:cubicBezTo>
                    <a:cubicBezTo>
                      <a:pt x="545" y="1089"/>
                      <a:pt x="547" y="1082"/>
                      <a:pt x="552" y="1078"/>
                    </a:cubicBezTo>
                    <a:cubicBezTo>
                      <a:pt x="556" y="1073"/>
                      <a:pt x="563" y="1070"/>
                      <a:pt x="570" y="1071"/>
                    </a:cubicBezTo>
                    <a:cubicBezTo>
                      <a:pt x="614" y="1075"/>
                      <a:pt x="634" y="1063"/>
                      <a:pt x="639" y="1054"/>
                    </a:cubicBezTo>
                    <a:cubicBezTo>
                      <a:pt x="635" y="1045"/>
                      <a:pt x="617" y="1026"/>
                      <a:pt x="608" y="1016"/>
                    </a:cubicBezTo>
                    <a:cubicBezTo>
                      <a:pt x="606" y="1013"/>
                      <a:pt x="603" y="1010"/>
                      <a:pt x="600" y="1007"/>
                    </a:cubicBezTo>
                    <a:cubicBezTo>
                      <a:pt x="580" y="985"/>
                      <a:pt x="564" y="947"/>
                      <a:pt x="554" y="919"/>
                    </a:cubicBezTo>
                    <a:cubicBezTo>
                      <a:pt x="550" y="906"/>
                      <a:pt x="549" y="891"/>
                      <a:pt x="547" y="872"/>
                    </a:cubicBezTo>
                    <a:cubicBezTo>
                      <a:pt x="546" y="855"/>
                      <a:pt x="544" y="836"/>
                      <a:pt x="540" y="822"/>
                    </a:cubicBezTo>
                    <a:cubicBezTo>
                      <a:pt x="533" y="802"/>
                      <a:pt x="530" y="772"/>
                      <a:pt x="529" y="752"/>
                    </a:cubicBezTo>
                    <a:cubicBezTo>
                      <a:pt x="530" y="752"/>
                      <a:pt x="530" y="752"/>
                      <a:pt x="530" y="752"/>
                    </a:cubicBezTo>
                    <a:cubicBezTo>
                      <a:pt x="549" y="751"/>
                      <a:pt x="562" y="751"/>
                      <a:pt x="573" y="748"/>
                    </a:cubicBezTo>
                    <a:cubicBezTo>
                      <a:pt x="574" y="768"/>
                      <a:pt x="576" y="793"/>
                      <a:pt x="581" y="808"/>
                    </a:cubicBezTo>
                    <a:cubicBezTo>
                      <a:pt x="587" y="827"/>
                      <a:pt x="589" y="849"/>
                      <a:pt x="591" y="869"/>
                    </a:cubicBezTo>
                    <a:cubicBezTo>
                      <a:pt x="592" y="883"/>
                      <a:pt x="593" y="897"/>
                      <a:pt x="596" y="904"/>
                    </a:cubicBezTo>
                    <a:cubicBezTo>
                      <a:pt x="608" y="938"/>
                      <a:pt x="621" y="965"/>
                      <a:pt x="633" y="978"/>
                    </a:cubicBezTo>
                    <a:cubicBezTo>
                      <a:pt x="635" y="980"/>
                      <a:pt x="638" y="983"/>
                      <a:pt x="641" y="986"/>
                    </a:cubicBezTo>
                    <a:cubicBezTo>
                      <a:pt x="667" y="1014"/>
                      <a:pt x="691" y="1041"/>
                      <a:pt x="682" y="1066"/>
                    </a:cubicBezTo>
                    <a:close/>
                    <a:moveTo>
                      <a:pt x="1783" y="1287"/>
                    </a:moveTo>
                    <a:cubicBezTo>
                      <a:pt x="1777" y="1292"/>
                      <a:pt x="1756" y="1309"/>
                      <a:pt x="1740" y="1319"/>
                    </a:cubicBezTo>
                    <a:cubicBezTo>
                      <a:pt x="1740" y="1432"/>
                      <a:pt x="1740" y="1432"/>
                      <a:pt x="1740" y="1432"/>
                    </a:cubicBezTo>
                    <a:cubicBezTo>
                      <a:pt x="1629" y="1474"/>
                      <a:pt x="1493" y="1482"/>
                      <a:pt x="1440" y="1484"/>
                    </a:cubicBezTo>
                    <a:cubicBezTo>
                      <a:pt x="1440" y="1328"/>
                      <a:pt x="1440" y="1328"/>
                      <a:pt x="1440" y="1328"/>
                    </a:cubicBezTo>
                    <a:cubicBezTo>
                      <a:pt x="1440" y="1322"/>
                      <a:pt x="1438" y="1316"/>
                      <a:pt x="1433" y="1311"/>
                    </a:cubicBezTo>
                    <a:cubicBezTo>
                      <a:pt x="1428" y="1307"/>
                      <a:pt x="1422" y="1305"/>
                      <a:pt x="1415" y="1306"/>
                    </a:cubicBezTo>
                    <a:cubicBezTo>
                      <a:pt x="1318" y="1319"/>
                      <a:pt x="1252" y="1309"/>
                      <a:pt x="1238" y="1304"/>
                    </a:cubicBezTo>
                    <a:cubicBezTo>
                      <a:pt x="1234" y="1296"/>
                      <a:pt x="1233" y="1267"/>
                      <a:pt x="1231" y="1241"/>
                    </a:cubicBezTo>
                    <a:cubicBezTo>
                      <a:pt x="1230" y="1234"/>
                      <a:pt x="1230" y="1234"/>
                      <a:pt x="1230" y="1234"/>
                    </a:cubicBezTo>
                    <a:cubicBezTo>
                      <a:pt x="1227" y="1187"/>
                      <a:pt x="1238" y="1096"/>
                      <a:pt x="1238" y="1096"/>
                    </a:cubicBezTo>
                    <a:cubicBezTo>
                      <a:pt x="1239" y="1089"/>
                      <a:pt x="1237" y="1082"/>
                      <a:pt x="1232" y="1078"/>
                    </a:cubicBezTo>
                    <a:cubicBezTo>
                      <a:pt x="1228" y="1073"/>
                      <a:pt x="1221" y="1070"/>
                      <a:pt x="1214" y="1071"/>
                    </a:cubicBezTo>
                    <a:cubicBezTo>
                      <a:pt x="1170" y="1075"/>
                      <a:pt x="1150" y="1063"/>
                      <a:pt x="1145" y="1054"/>
                    </a:cubicBezTo>
                    <a:cubicBezTo>
                      <a:pt x="1149" y="1045"/>
                      <a:pt x="1167" y="1026"/>
                      <a:pt x="1176" y="1016"/>
                    </a:cubicBezTo>
                    <a:cubicBezTo>
                      <a:pt x="1178" y="1013"/>
                      <a:pt x="1181" y="1010"/>
                      <a:pt x="1184" y="1007"/>
                    </a:cubicBezTo>
                    <a:cubicBezTo>
                      <a:pt x="1204" y="985"/>
                      <a:pt x="1220" y="947"/>
                      <a:pt x="1230" y="919"/>
                    </a:cubicBezTo>
                    <a:cubicBezTo>
                      <a:pt x="1234" y="906"/>
                      <a:pt x="1235" y="891"/>
                      <a:pt x="1237" y="872"/>
                    </a:cubicBezTo>
                    <a:cubicBezTo>
                      <a:pt x="1238" y="855"/>
                      <a:pt x="1240" y="836"/>
                      <a:pt x="1244" y="822"/>
                    </a:cubicBezTo>
                    <a:cubicBezTo>
                      <a:pt x="1251" y="802"/>
                      <a:pt x="1254" y="772"/>
                      <a:pt x="1255" y="752"/>
                    </a:cubicBezTo>
                    <a:cubicBezTo>
                      <a:pt x="1254" y="752"/>
                      <a:pt x="1254" y="752"/>
                      <a:pt x="1254" y="752"/>
                    </a:cubicBezTo>
                    <a:cubicBezTo>
                      <a:pt x="1235" y="751"/>
                      <a:pt x="1222" y="751"/>
                      <a:pt x="1211" y="748"/>
                    </a:cubicBezTo>
                    <a:cubicBezTo>
                      <a:pt x="1210" y="768"/>
                      <a:pt x="1208" y="793"/>
                      <a:pt x="1203" y="808"/>
                    </a:cubicBezTo>
                    <a:cubicBezTo>
                      <a:pt x="1197" y="827"/>
                      <a:pt x="1195" y="849"/>
                      <a:pt x="1193" y="869"/>
                    </a:cubicBezTo>
                    <a:cubicBezTo>
                      <a:pt x="1192" y="883"/>
                      <a:pt x="1191" y="897"/>
                      <a:pt x="1188" y="904"/>
                    </a:cubicBezTo>
                    <a:cubicBezTo>
                      <a:pt x="1176" y="938"/>
                      <a:pt x="1163" y="965"/>
                      <a:pt x="1151" y="978"/>
                    </a:cubicBezTo>
                    <a:cubicBezTo>
                      <a:pt x="1149" y="980"/>
                      <a:pt x="1146" y="983"/>
                      <a:pt x="1143" y="986"/>
                    </a:cubicBezTo>
                    <a:cubicBezTo>
                      <a:pt x="1117" y="1014"/>
                      <a:pt x="1093" y="1041"/>
                      <a:pt x="1102" y="1066"/>
                    </a:cubicBezTo>
                    <a:cubicBezTo>
                      <a:pt x="1106" y="1078"/>
                      <a:pt x="1124" y="1114"/>
                      <a:pt x="1192" y="1116"/>
                    </a:cubicBezTo>
                    <a:cubicBezTo>
                      <a:pt x="1189" y="1147"/>
                      <a:pt x="1184" y="1202"/>
                      <a:pt x="1187" y="1237"/>
                    </a:cubicBezTo>
                    <a:cubicBezTo>
                      <a:pt x="1187" y="1244"/>
                      <a:pt x="1187" y="1244"/>
                      <a:pt x="1187" y="1244"/>
                    </a:cubicBezTo>
                    <a:cubicBezTo>
                      <a:pt x="1191" y="1299"/>
                      <a:pt x="1193" y="1330"/>
                      <a:pt x="1217" y="1342"/>
                    </a:cubicBezTo>
                    <a:cubicBezTo>
                      <a:pt x="1236" y="1353"/>
                      <a:pt x="1305" y="1362"/>
                      <a:pt x="1396" y="1353"/>
                    </a:cubicBezTo>
                    <a:cubicBezTo>
                      <a:pt x="1396" y="1507"/>
                      <a:pt x="1396" y="1507"/>
                      <a:pt x="1396" y="1507"/>
                    </a:cubicBezTo>
                    <a:cubicBezTo>
                      <a:pt x="1396" y="1519"/>
                      <a:pt x="1406" y="1528"/>
                      <a:pt x="1418" y="1529"/>
                    </a:cubicBezTo>
                    <a:cubicBezTo>
                      <a:pt x="1418" y="1529"/>
                      <a:pt x="1419" y="1529"/>
                      <a:pt x="1419" y="1529"/>
                    </a:cubicBezTo>
                    <a:cubicBezTo>
                      <a:pt x="1434" y="1529"/>
                      <a:pt x="1623" y="1527"/>
                      <a:pt x="1770" y="1467"/>
                    </a:cubicBezTo>
                    <a:cubicBezTo>
                      <a:pt x="1779" y="1464"/>
                      <a:pt x="1784" y="1456"/>
                      <a:pt x="1784" y="1447"/>
                    </a:cubicBezTo>
                    <a:cubicBezTo>
                      <a:pt x="1784" y="1286"/>
                      <a:pt x="1784" y="1286"/>
                      <a:pt x="1784" y="1286"/>
                    </a:cubicBezTo>
                    <a:cubicBezTo>
                      <a:pt x="1784" y="1286"/>
                      <a:pt x="1784" y="1286"/>
                      <a:pt x="1783" y="1287"/>
                    </a:cubicBezTo>
                    <a:close/>
                    <a:moveTo>
                      <a:pt x="850" y="239"/>
                    </a:moveTo>
                    <a:cubicBezTo>
                      <a:pt x="820" y="239"/>
                      <a:pt x="743" y="239"/>
                      <a:pt x="542" y="239"/>
                    </a:cubicBezTo>
                    <a:cubicBezTo>
                      <a:pt x="542" y="239"/>
                      <a:pt x="542" y="239"/>
                      <a:pt x="542" y="208"/>
                    </a:cubicBezTo>
                    <a:cubicBezTo>
                      <a:pt x="542" y="208"/>
                      <a:pt x="542" y="208"/>
                      <a:pt x="850" y="208"/>
                    </a:cubicBezTo>
                    <a:cubicBezTo>
                      <a:pt x="850" y="176"/>
                      <a:pt x="850" y="176"/>
                      <a:pt x="850" y="176"/>
                    </a:cubicBezTo>
                    <a:cubicBezTo>
                      <a:pt x="820" y="176"/>
                      <a:pt x="743" y="176"/>
                      <a:pt x="542" y="176"/>
                    </a:cubicBezTo>
                    <a:cubicBezTo>
                      <a:pt x="542" y="176"/>
                      <a:pt x="542" y="176"/>
                      <a:pt x="542" y="146"/>
                    </a:cubicBezTo>
                    <a:cubicBezTo>
                      <a:pt x="542" y="146"/>
                      <a:pt x="542" y="146"/>
                      <a:pt x="850" y="146"/>
                    </a:cubicBezTo>
                    <a:cubicBezTo>
                      <a:pt x="850" y="113"/>
                      <a:pt x="850" y="113"/>
                      <a:pt x="850" y="113"/>
                    </a:cubicBezTo>
                    <a:cubicBezTo>
                      <a:pt x="820" y="113"/>
                      <a:pt x="743" y="113"/>
                      <a:pt x="542" y="113"/>
                    </a:cubicBezTo>
                    <a:cubicBezTo>
                      <a:pt x="542" y="113"/>
                      <a:pt x="542" y="113"/>
                      <a:pt x="542" y="83"/>
                    </a:cubicBezTo>
                    <a:cubicBezTo>
                      <a:pt x="542" y="83"/>
                      <a:pt x="542" y="83"/>
                      <a:pt x="852" y="83"/>
                    </a:cubicBezTo>
                    <a:cubicBezTo>
                      <a:pt x="858" y="53"/>
                      <a:pt x="878" y="29"/>
                      <a:pt x="906" y="16"/>
                    </a:cubicBezTo>
                    <a:cubicBezTo>
                      <a:pt x="908" y="15"/>
                      <a:pt x="911" y="14"/>
                      <a:pt x="914" y="13"/>
                    </a:cubicBezTo>
                    <a:cubicBezTo>
                      <a:pt x="910" y="10"/>
                      <a:pt x="905" y="7"/>
                      <a:pt x="901" y="5"/>
                    </a:cubicBezTo>
                    <a:cubicBezTo>
                      <a:pt x="894" y="2"/>
                      <a:pt x="887" y="0"/>
                      <a:pt x="879" y="0"/>
                    </a:cubicBezTo>
                    <a:cubicBezTo>
                      <a:pt x="879" y="0"/>
                      <a:pt x="879" y="0"/>
                      <a:pt x="525" y="0"/>
                    </a:cubicBezTo>
                    <a:cubicBezTo>
                      <a:pt x="496" y="0"/>
                      <a:pt x="473" y="23"/>
                      <a:pt x="473" y="52"/>
                    </a:cubicBezTo>
                    <a:cubicBezTo>
                      <a:pt x="473" y="52"/>
                      <a:pt x="473" y="52"/>
                      <a:pt x="473" y="276"/>
                    </a:cubicBezTo>
                    <a:cubicBezTo>
                      <a:pt x="473" y="305"/>
                      <a:pt x="496" y="328"/>
                      <a:pt x="525" y="328"/>
                    </a:cubicBezTo>
                    <a:cubicBezTo>
                      <a:pt x="525" y="328"/>
                      <a:pt x="525" y="328"/>
                      <a:pt x="614" y="328"/>
                    </a:cubicBezTo>
                    <a:cubicBezTo>
                      <a:pt x="614" y="328"/>
                      <a:pt x="614" y="328"/>
                      <a:pt x="614" y="447"/>
                    </a:cubicBezTo>
                    <a:cubicBezTo>
                      <a:pt x="614" y="447"/>
                      <a:pt x="617" y="457"/>
                      <a:pt x="626" y="457"/>
                    </a:cubicBezTo>
                    <a:cubicBezTo>
                      <a:pt x="630" y="457"/>
                      <a:pt x="636" y="454"/>
                      <a:pt x="643" y="447"/>
                    </a:cubicBezTo>
                    <a:cubicBezTo>
                      <a:pt x="658" y="432"/>
                      <a:pt x="709" y="373"/>
                      <a:pt x="754" y="328"/>
                    </a:cubicBezTo>
                    <a:cubicBezTo>
                      <a:pt x="754" y="328"/>
                      <a:pt x="754" y="328"/>
                      <a:pt x="850" y="328"/>
                    </a:cubicBezTo>
                    <a:lnTo>
                      <a:pt x="850" y="239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2" name="Freeform 6">
                <a:extLst>
                  <a:ext uri="{FF2B5EF4-FFF2-40B4-BE49-F238E27FC236}">
                    <a16:creationId xmlns:a16="http://schemas.microsoft.com/office/drawing/2014/main" id="{308309B4-4148-9C8A-999B-D0950FAB72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88660" y="2919603"/>
                <a:ext cx="1615821" cy="861060"/>
              </a:xfrm>
              <a:custGeom>
                <a:avLst/>
                <a:gdLst>
                  <a:gd name="T0" fmla="*/ 866 w 2264"/>
                  <a:gd name="T1" fmla="*/ 525 h 1205"/>
                  <a:gd name="T2" fmla="*/ 810 w 2264"/>
                  <a:gd name="T3" fmla="*/ 650 h 1205"/>
                  <a:gd name="T4" fmla="*/ 807 w 2264"/>
                  <a:gd name="T5" fmla="*/ 653 h 1205"/>
                  <a:gd name="T6" fmla="*/ 550 w 2264"/>
                  <a:gd name="T7" fmla="*/ 712 h 1205"/>
                  <a:gd name="T8" fmla="*/ 462 w 2264"/>
                  <a:gd name="T9" fmla="*/ 907 h 1205"/>
                  <a:gd name="T10" fmla="*/ 400 w 2264"/>
                  <a:gd name="T11" fmla="*/ 912 h 1205"/>
                  <a:gd name="T12" fmla="*/ 396 w 2264"/>
                  <a:gd name="T13" fmla="*/ 909 h 1205"/>
                  <a:gd name="T14" fmla="*/ 277 w 2264"/>
                  <a:gd name="T15" fmla="*/ 805 h 1205"/>
                  <a:gd name="T16" fmla="*/ 276 w 2264"/>
                  <a:gd name="T17" fmla="*/ 1032 h 1205"/>
                  <a:gd name="T18" fmla="*/ 277 w 2264"/>
                  <a:gd name="T19" fmla="*/ 1033 h 1205"/>
                  <a:gd name="T20" fmla="*/ 277 w 2264"/>
                  <a:gd name="T21" fmla="*/ 1200 h 1205"/>
                  <a:gd name="T22" fmla="*/ 271 w 2264"/>
                  <a:gd name="T23" fmla="*/ 1203 h 1205"/>
                  <a:gd name="T24" fmla="*/ 108 w 2264"/>
                  <a:gd name="T25" fmla="*/ 704 h 1205"/>
                  <a:gd name="T26" fmla="*/ 478 w 2264"/>
                  <a:gd name="T27" fmla="*/ 467 h 1205"/>
                  <a:gd name="T28" fmla="*/ 866 w 2264"/>
                  <a:gd name="T29" fmla="*/ 525 h 1205"/>
                  <a:gd name="T30" fmla="*/ 1398 w 2264"/>
                  <a:gd name="T31" fmla="*/ 525 h 1205"/>
                  <a:gd name="T32" fmla="*/ 1454 w 2264"/>
                  <a:gd name="T33" fmla="*/ 650 h 1205"/>
                  <a:gd name="T34" fmla="*/ 1457 w 2264"/>
                  <a:gd name="T35" fmla="*/ 653 h 1205"/>
                  <a:gd name="T36" fmla="*/ 1714 w 2264"/>
                  <a:gd name="T37" fmla="*/ 712 h 1205"/>
                  <a:gd name="T38" fmla="*/ 1802 w 2264"/>
                  <a:gd name="T39" fmla="*/ 907 h 1205"/>
                  <a:gd name="T40" fmla="*/ 1864 w 2264"/>
                  <a:gd name="T41" fmla="*/ 912 h 1205"/>
                  <a:gd name="T42" fmla="*/ 1868 w 2264"/>
                  <a:gd name="T43" fmla="*/ 909 h 1205"/>
                  <a:gd name="T44" fmla="*/ 1987 w 2264"/>
                  <a:gd name="T45" fmla="*/ 805 h 1205"/>
                  <a:gd name="T46" fmla="*/ 1988 w 2264"/>
                  <a:gd name="T47" fmla="*/ 1032 h 1205"/>
                  <a:gd name="T48" fmla="*/ 1987 w 2264"/>
                  <a:gd name="T49" fmla="*/ 1033 h 1205"/>
                  <a:gd name="T50" fmla="*/ 1987 w 2264"/>
                  <a:gd name="T51" fmla="*/ 1200 h 1205"/>
                  <a:gd name="T52" fmla="*/ 1993 w 2264"/>
                  <a:gd name="T53" fmla="*/ 1203 h 1205"/>
                  <a:gd name="T54" fmla="*/ 2156 w 2264"/>
                  <a:gd name="T55" fmla="*/ 704 h 1205"/>
                  <a:gd name="T56" fmla="*/ 1786 w 2264"/>
                  <a:gd name="T57" fmla="*/ 467 h 1205"/>
                  <a:gd name="T58" fmla="*/ 1398 w 2264"/>
                  <a:gd name="T59" fmla="*/ 525 h 1205"/>
                  <a:gd name="T60" fmla="*/ 1134 w 2264"/>
                  <a:gd name="T61" fmla="*/ 52 h 1205"/>
                  <a:gd name="T62" fmla="*/ 1163 w 2264"/>
                  <a:gd name="T63" fmla="*/ 5 h 1205"/>
                  <a:gd name="T64" fmla="*/ 1185 w 2264"/>
                  <a:gd name="T65" fmla="*/ 0 h 1205"/>
                  <a:gd name="T66" fmla="*/ 1539 w 2264"/>
                  <a:gd name="T67" fmla="*/ 0 h 1205"/>
                  <a:gd name="T68" fmla="*/ 1591 w 2264"/>
                  <a:gd name="T69" fmla="*/ 52 h 1205"/>
                  <a:gd name="T70" fmla="*/ 1591 w 2264"/>
                  <a:gd name="T71" fmla="*/ 276 h 1205"/>
                  <a:gd name="T72" fmla="*/ 1539 w 2264"/>
                  <a:gd name="T73" fmla="*/ 328 h 1205"/>
                  <a:gd name="T74" fmla="*/ 1450 w 2264"/>
                  <a:gd name="T75" fmla="*/ 328 h 1205"/>
                  <a:gd name="T76" fmla="*/ 1450 w 2264"/>
                  <a:gd name="T77" fmla="*/ 448 h 1205"/>
                  <a:gd name="T78" fmla="*/ 1438 w 2264"/>
                  <a:gd name="T79" fmla="*/ 457 h 1205"/>
                  <a:gd name="T80" fmla="*/ 1421 w 2264"/>
                  <a:gd name="T81" fmla="*/ 448 h 1205"/>
                  <a:gd name="T82" fmla="*/ 1310 w 2264"/>
                  <a:gd name="T83" fmla="*/ 328 h 1205"/>
                  <a:gd name="T84" fmla="*/ 1185 w 2264"/>
                  <a:gd name="T85" fmla="*/ 328 h 1205"/>
                  <a:gd name="T86" fmla="*/ 1134 w 2264"/>
                  <a:gd name="T87" fmla="*/ 276 h 1205"/>
                  <a:gd name="T88" fmla="*/ 1134 w 2264"/>
                  <a:gd name="T89" fmla="*/ 52 h 1205"/>
                  <a:gd name="T90" fmla="*/ 1195 w 2264"/>
                  <a:gd name="T91" fmla="*/ 208 h 1205"/>
                  <a:gd name="T92" fmla="*/ 1195 w 2264"/>
                  <a:gd name="T93" fmla="*/ 208 h 1205"/>
                  <a:gd name="T94" fmla="*/ 1195 w 2264"/>
                  <a:gd name="T95" fmla="*/ 239 h 1205"/>
                  <a:gd name="T96" fmla="*/ 1522 w 2264"/>
                  <a:gd name="T97" fmla="*/ 239 h 1205"/>
                  <a:gd name="T98" fmla="*/ 1522 w 2264"/>
                  <a:gd name="T99" fmla="*/ 208 h 1205"/>
                  <a:gd name="T100" fmla="*/ 1195 w 2264"/>
                  <a:gd name="T101" fmla="*/ 208 h 1205"/>
                  <a:gd name="T102" fmla="*/ 1195 w 2264"/>
                  <a:gd name="T103" fmla="*/ 146 h 1205"/>
                  <a:gd name="T104" fmla="*/ 1195 w 2264"/>
                  <a:gd name="T105" fmla="*/ 146 h 1205"/>
                  <a:gd name="T106" fmla="*/ 1195 w 2264"/>
                  <a:gd name="T107" fmla="*/ 176 h 1205"/>
                  <a:gd name="T108" fmla="*/ 1522 w 2264"/>
                  <a:gd name="T109" fmla="*/ 176 h 1205"/>
                  <a:gd name="T110" fmla="*/ 1522 w 2264"/>
                  <a:gd name="T111" fmla="*/ 146 h 1205"/>
                  <a:gd name="T112" fmla="*/ 1195 w 2264"/>
                  <a:gd name="T113" fmla="*/ 146 h 1205"/>
                  <a:gd name="T114" fmla="*/ 1195 w 2264"/>
                  <a:gd name="T115" fmla="*/ 83 h 1205"/>
                  <a:gd name="T116" fmla="*/ 1195 w 2264"/>
                  <a:gd name="T117" fmla="*/ 83 h 1205"/>
                  <a:gd name="T118" fmla="*/ 1195 w 2264"/>
                  <a:gd name="T119" fmla="*/ 113 h 1205"/>
                  <a:gd name="T120" fmla="*/ 1522 w 2264"/>
                  <a:gd name="T121" fmla="*/ 113 h 1205"/>
                  <a:gd name="T122" fmla="*/ 1522 w 2264"/>
                  <a:gd name="T123" fmla="*/ 83 h 1205"/>
                  <a:gd name="T124" fmla="*/ 1195 w 2264"/>
                  <a:gd name="T125" fmla="*/ 83 h 1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64" h="1205">
                    <a:moveTo>
                      <a:pt x="866" y="525"/>
                    </a:moveTo>
                    <a:cubicBezTo>
                      <a:pt x="890" y="525"/>
                      <a:pt x="821" y="600"/>
                      <a:pt x="810" y="650"/>
                    </a:cubicBezTo>
                    <a:cubicBezTo>
                      <a:pt x="809" y="651"/>
                      <a:pt x="808" y="652"/>
                      <a:pt x="807" y="653"/>
                    </a:cubicBezTo>
                    <a:cubicBezTo>
                      <a:pt x="782" y="661"/>
                      <a:pt x="643" y="644"/>
                      <a:pt x="550" y="712"/>
                    </a:cubicBezTo>
                    <a:cubicBezTo>
                      <a:pt x="500" y="748"/>
                      <a:pt x="462" y="806"/>
                      <a:pt x="462" y="907"/>
                    </a:cubicBezTo>
                    <a:cubicBezTo>
                      <a:pt x="462" y="920"/>
                      <a:pt x="412" y="914"/>
                      <a:pt x="400" y="912"/>
                    </a:cubicBezTo>
                    <a:cubicBezTo>
                      <a:pt x="398" y="912"/>
                      <a:pt x="397" y="911"/>
                      <a:pt x="396" y="909"/>
                    </a:cubicBezTo>
                    <a:cubicBezTo>
                      <a:pt x="394" y="889"/>
                      <a:pt x="370" y="756"/>
                      <a:pt x="277" y="805"/>
                    </a:cubicBezTo>
                    <a:cubicBezTo>
                      <a:pt x="189" y="850"/>
                      <a:pt x="270" y="1019"/>
                      <a:pt x="276" y="1032"/>
                    </a:cubicBezTo>
                    <a:cubicBezTo>
                      <a:pt x="277" y="1032"/>
                      <a:pt x="277" y="1032"/>
                      <a:pt x="277" y="1033"/>
                    </a:cubicBezTo>
                    <a:cubicBezTo>
                      <a:pt x="277" y="1200"/>
                      <a:pt x="277" y="1200"/>
                      <a:pt x="277" y="1200"/>
                    </a:cubicBezTo>
                    <a:cubicBezTo>
                      <a:pt x="277" y="1203"/>
                      <a:pt x="273" y="1205"/>
                      <a:pt x="271" y="1203"/>
                    </a:cubicBezTo>
                    <a:cubicBezTo>
                      <a:pt x="230" y="1165"/>
                      <a:pt x="0" y="935"/>
                      <a:pt x="108" y="704"/>
                    </a:cubicBezTo>
                    <a:cubicBezTo>
                      <a:pt x="160" y="594"/>
                      <a:pt x="266" y="467"/>
                      <a:pt x="478" y="467"/>
                    </a:cubicBezTo>
                    <a:cubicBezTo>
                      <a:pt x="720" y="467"/>
                      <a:pt x="641" y="529"/>
                      <a:pt x="866" y="525"/>
                    </a:cubicBezTo>
                    <a:close/>
                    <a:moveTo>
                      <a:pt x="1398" y="525"/>
                    </a:moveTo>
                    <a:cubicBezTo>
                      <a:pt x="1374" y="525"/>
                      <a:pt x="1443" y="600"/>
                      <a:pt x="1454" y="650"/>
                    </a:cubicBezTo>
                    <a:cubicBezTo>
                      <a:pt x="1455" y="651"/>
                      <a:pt x="1456" y="652"/>
                      <a:pt x="1457" y="653"/>
                    </a:cubicBezTo>
                    <a:cubicBezTo>
                      <a:pt x="1482" y="661"/>
                      <a:pt x="1621" y="644"/>
                      <a:pt x="1714" y="712"/>
                    </a:cubicBezTo>
                    <a:cubicBezTo>
                      <a:pt x="1764" y="748"/>
                      <a:pt x="1802" y="806"/>
                      <a:pt x="1802" y="907"/>
                    </a:cubicBezTo>
                    <a:cubicBezTo>
                      <a:pt x="1802" y="920"/>
                      <a:pt x="1852" y="914"/>
                      <a:pt x="1864" y="912"/>
                    </a:cubicBezTo>
                    <a:cubicBezTo>
                      <a:pt x="1866" y="912"/>
                      <a:pt x="1867" y="911"/>
                      <a:pt x="1868" y="909"/>
                    </a:cubicBezTo>
                    <a:cubicBezTo>
                      <a:pt x="1870" y="889"/>
                      <a:pt x="1894" y="756"/>
                      <a:pt x="1987" y="805"/>
                    </a:cubicBezTo>
                    <a:cubicBezTo>
                      <a:pt x="2075" y="850"/>
                      <a:pt x="1994" y="1019"/>
                      <a:pt x="1988" y="1032"/>
                    </a:cubicBezTo>
                    <a:cubicBezTo>
                      <a:pt x="1987" y="1032"/>
                      <a:pt x="1987" y="1032"/>
                      <a:pt x="1987" y="1033"/>
                    </a:cubicBezTo>
                    <a:cubicBezTo>
                      <a:pt x="1987" y="1200"/>
                      <a:pt x="1987" y="1200"/>
                      <a:pt x="1987" y="1200"/>
                    </a:cubicBezTo>
                    <a:cubicBezTo>
                      <a:pt x="1987" y="1203"/>
                      <a:pt x="1991" y="1205"/>
                      <a:pt x="1993" y="1203"/>
                    </a:cubicBezTo>
                    <a:cubicBezTo>
                      <a:pt x="2034" y="1165"/>
                      <a:pt x="2264" y="935"/>
                      <a:pt x="2156" y="704"/>
                    </a:cubicBezTo>
                    <a:cubicBezTo>
                      <a:pt x="2104" y="594"/>
                      <a:pt x="1998" y="467"/>
                      <a:pt x="1786" y="467"/>
                    </a:cubicBezTo>
                    <a:cubicBezTo>
                      <a:pt x="1544" y="467"/>
                      <a:pt x="1623" y="529"/>
                      <a:pt x="1398" y="525"/>
                    </a:cubicBezTo>
                    <a:close/>
                    <a:moveTo>
                      <a:pt x="1134" y="52"/>
                    </a:moveTo>
                    <a:cubicBezTo>
                      <a:pt x="1134" y="30"/>
                      <a:pt x="1146" y="13"/>
                      <a:pt x="1163" y="5"/>
                    </a:cubicBezTo>
                    <a:cubicBezTo>
                      <a:pt x="1170" y="2"/>
                      <a:pt x="1177" y="0"/>
                      <a:pt x="1185" y="0"/>
                    </a:cubicBezTo>
                    <a:cubicBezTo>
                      <a:pt x="1185" y="0"/>
                      <a:pt x="1185" y="0"/>
                      <a:pt x="1539" y="0"/>
                    </a:cubicBezTo>
                    <a:cubicBezTo>
                      <a:pt x="1568" y="0"/>
                      <a:pt x="1591" y="23"/>
                      <a:pt x="1591" y="52"/>
                    </a:cubicBezTo>
                    <a:cubicBezTo>
                      <a:pt x="1591" y="52"/>
                      <a:pt x="1591" y="52"/>
                      <a:pt x="1591" y="276"/>
                    </a:cubicBezTo>
                    <a:cubicBezTo>
                      <a:pt x="1591" y="305"/>
                      <a:pt x="1568" y="328"/>
                      <a:pt x="1539" y="328"/>
                    </a:cubicBezTo>
                    <a:cubicBezTo>
                      <a:pt x="1539" y="328"/>
                      <a:pt x="1539" y="328"/>
                      <a:pt x="1450" y="328"/>
                    </a:cubicBezTo>
                    <a:cubicBezTo>
                      <a:pt x="1450" y="328"/>
                      <a:pt x="1450" y="328"/>
                      <a:pt x="1450" y="448"/>
                    </a:cubicBezTo>
                    <a:cubicBezTo>
                      <a:pt x="1450" y="448"/>
                      <a:pt x="1447" y="457"/>
                      <a:pt x="1438" y="457"/>
                    </a:cubicBezTo>
                    <a:cubicBezTo>
                      <a:pt x="1434" y="457"/>
                      <a:pt x="1428" y="455"/>
                      <a:pt x="1421" y="448"/>
                    </a:cubicBezTo>
                    <a:cubicBezTo>
                      <a:pt x="1406" y="432"/>
                      <a:pt x="1355" y="373"/>
                      <a:pt x="1310" y="328"/>
                    </a:cubicBezTo>
                    <a:cubicBezTo>
                      <a:pt x="1310" y="328"/>
                      <a:pt x="1310" y="328"/>
                      <a:pt x="1185" y="328"/>
                    </a:cubicBezTo>
                    <a:cubicBezTo>
                      <a:pt x="1156" y="328"/>
                      <a:pt x="1134" y="305"/>
                      <a:pt x="1134" y="276"/>
                    </a:cubicBezTo>
                    <a:cubicBezTo>
                      <a:pt x="1134" y="276"/>
                      <a:pt x="1134" y="276"/>
                      <a:pt x="1134" y="52"/>
                    </a:cubicBezTo>
                    <a:close/>
                    <a:moveTo>
                      <a:pt x="1195" y="208"/>
                    </a:moveTo>
                    <a:cubicBezTo>
                      <a:pt x="1195" y="208"/>
                      <a:pt x="1195" y="208"/>
                      <a:pt x="1195" y="208"/>
                    </a:cubicBezTo>
                    <a:cubicBezTo>
                      <a:pt x="1195" y="239"/>
                      <a:pt x="1195" y="239"/>
                      <a:pt x="1195" y="239"/>
                    </a:cubicBezTo>
                    <a:cubicBezTo>
                      <a:pt x="1195" y="239"/>
                      <a:pt x="1195" y="239"/>
                      <a:pt x="1522" y="239"/>
                    </a:cubicBezTo>
                    <a:cubicBezTo>
                      <a:pt x="1522" y="239"/>
                      <a:pt x="1522" y="239"/>
                      <a:pt x="1522" y="208"/>
                    </a:cubicBezTo>
                    <a:cubicBezTo>
                      <a:pt x="1522" y="208"/>
                      <a:pt x="1522" y="208"/>
                      <a:pt x="1195" y="208"/>
                    </a:cubicBezTo>
                    <a:close/>
                    <a:moveTo>
                      <a:pt x="1195" y="146"/>
                    </a:moveTo>
                    <a:cubicBezTo>
                      <a:pt x="1195" y="146"/>
                      <a:pt x="1195" y="146"/>
                      <a:pt x="1195" y="146"/>
                    </a:cubicBezTo>
                    <a:cubicBezTo>
                      <a:pt x="1195" y="176"/>
                      <a:pt x="1195" y="176"/>
                      <a:pt x="1195" y="176"/>
                    </a:cubicBezTo>
                    <a:cubicBezTo>
                      <a:pt x="1195" y="176"/>
                      <a:pt x="1195" y="176"/>
                      <a:pt x="1522" y="176"/>
                    </a:cubicBezTo>
                    <a:cubicBezTo>
                      <a:pt x="1522" y="176"/>
                      <a:pt x="1522" y="176"/>
                      <a:pt x="1522" y="146"/>
                    </a:cubicBezTo>
                    <a:cubicBezTo>
                      <a:pt x="1522" y="146"/>
                      <a:pt x="1522" y="146"/>
                      <a:pt x="1195" y="146"/>
                    </a:cubicBezTo>
                    <a:close/>
                    <a:moveTo>
                      <a:pt x="1195" y="83"/>
                    </a:moveTo>
                    <a:cubicBezTo>
                      <a:pt x="1195" y="83"/>
                      <a:pt x="1195" y="83"/>
                      <a:pt x="1195" y="83"/>
                    </a:cubicBezTo>
                    <a:cubicBezTo>
                      <a:pt x="1195" y="113"/>
                      <a:pt x="1195" y="113"/>
                      <a:pt x="1195" y="113"/>
                    </a:cubicBezTo>
                    <a:cubicBezTo>
                      <a:pt x="1195" y="113"/>
                      <a:pt x="1195" y="113"/>
                      <a:pt x="1522" y="113"/>
                    </a:cubicBezTo>
                    <a:cubicBezTo>
                      <a:pt x="1522" y="113"/>
                      <a:pt x="1522" y="113"/>
                      <a:pt x="1522" y="83"/>
                    </a:cubicBezTo>
                    <a:cubicBezTo>
                      <a:pt x="1522" y="83"/>
                      <a:pt x="1522" y="83"/>
                      <a:pt x="1195" y="8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33" name="Textfeld 12">
            <a:extLst>
              <a:ext uri="{FF2B5EF4-FFF2-40B4-BE49-F238E27FC236}">
                <a16:creationId xmlns:a16="http://schemas.microsoft.com/office/drawing/2014/main" id="{AE02A479-2552-A2F0-C04A-7B8849A656D6}"/>
              </a:ext>
            </a:extLst>
          </p:cNvPr>
          <p:cNvSpPr txBox="1"/>
          <p:nvPr/>
        </p:nvSpPr>
        <p:spPr>
          <a:xfrm>
            <a:off x="1273889" y="3514233"/>
            <a:ext cx="6557757" cy="5034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GB" sz="1600" b="1">
                <a:latin typeface="+mn-lt"/>
                <a:cs typeface="Arial"/>
              </a:rPr>
              <a:t>Communication</a:t>
            </a:r>
            <a:endParaRPr lang="de-DE"/>
          </a:p>
          <a:p>
            <a:pPr>
              <a:lnSpc>
                <a:spcPct val="113999"/>
              </a:lnSpc>
            </a:pPr>
            <a:r>
              <a:rPr lang="en-GB" sz="1600">
                <a:latin typeface="Arial"/>
                <a:cs typeface="Arial"/>
              </a:rPr>
              <a:t>Making sure, everyone stays on board and splitting all tasks efficiently</a:t>
            </a:r>
            <a:endParaRPr lang="en-GB"/>
          </a:p>
        </p:txBody>
      </p:sp>
      <p:sp>
        <p:nvSpPr>
          <p:cNvPr id="34" name="Textfeld 12">
            <a:extLst>
              <a:ext uri="{FF2B5EF4-FFF2-40B4-BE49-F238E27FC236}">
                <a16:creationId xmlns:a16="http://schemas.microsoft.com/office/drawing/2014/main" id="{B4928EFB-EAFA-7F97-DBF1-0C6BD5492B43}"/>
              </a:ext>
            </a:extLst>
          </p:cNvPr>
          <p:cNvSpPr txBox="1"/>
          <p:nvPr/>
        </p:nvSpPr>
        <p:spPr>
          <a:xfrm>
            <a:off x="1273889" y="2445882"/>
            <a:ext cx="5081845" cy="5034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GB" sz="1600" b="1">
                <a:latin typeface="+mn-lt"/>
                <a:cs typeface="Arial"/>
              </a:rPr>
              <a:t>Computational Resources</a:t>
            </a:r>
            <a:endParaRPr lang="de-DE"/>
          </a:p>
          <a:p>
            <a:pPr>
              <a:lnSpc>
                <a:spcPct val="113999"/>
              </a:lnSpc>
            </a:pPr>
            <a:r>
              <a:rPr lang="en-GB" sz="1600">
                <a:latin typeface="Arial"/>
                <a:cs typeface="Arial"/>
              </a:rPr>
              <a:t>Being able to test our pipeline in a time-efficient way</a:t>
            </a:r>
            <a:endParaRPr lang="en-GB" sz="1600"/>
          </a:p>
        </p:txBody>
      </p:sp>
      <p:sp>
        <p:nvSpPr>
          <p:cNvPr id="43" name="Textfeld 12">
            <a:extLst>
              <a:ext uri="{FF2B5EF4-FFF2-40B4-BE49-F238E27FC236}">
                <a16:creationId xmlns:a16="http://schemas.microsoft.com/office/drawing/2014/main" id="{B871E0C9-CA53-F3A0-4922-AE2013A6F97E}"/>
              </a:ext>
            </a:extLst>
          </p:cNvPr>
          <p:cNvSpPr txBox="1"/>
          <p:nvPr/>
        </p:nvSpPr>
        <p:spPr>
          <a:xfrm>
            <a:off x="1273889" y="1377531"/>
            <a:ext cx="5825350" cy="5034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GB" sz="1600" b="1">
                <a:latin typeface="+mn-lt"/>
                <a:cs typeface="Arial"/>
              </a:rPr>
              <a:t>Correct Labelling</a:t>
            </a:r>
          </a:p>
          <a:p>
            <a:pPr>
              <a:lnSpc>
                <a:spcPct val="113999"/>
              </a:lnSpc>
            </a:pPr>
            <a:r>
              <a:rPr lang="en-GB" sz="1600">
                <a:latin typeface="Arial"/>
                <a:cs typeface="Arial"/>
              </a:rPr>
              <a:t>Making sure our manually added labels are correct</a:t>
            </a:r>
            <a:endParaRPr lang="en-GB" sz="1600"/>
          </a:p>
        </p:txBody>
      </p:sp>
      <p:grpSp>
        <p:nvGrpSpPr>
          <p:cNvPr id="44" name="bcgIcons_Simplicity">
            <a:extLst>
              <a:ext uri="{FF2B5EF4-FFF2-40B4-BE49-F238E27FC236}">
                <a16:creationId xmlns:a16="http://schemas.microsoft.com/office/drawing/2014/main" id="{EBADD115-E396-F4E5-CA4C-281C3C4337A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051" y="1269267"/>
            <a:ext cx="719333" cy="720000"/>
            <a:chOff x="1682" y="0"/>
            <a:chExt cx="4316" cy="4320"/>
          </a:xfrm>
        </p:grpSpPr>
        <p:sp>
          <p:nvSpPr>
            <p:cNvPr id="45" name="AutoShape 23">
              <a:extLst>
                <a:ext uri="{FF2B5EF4-FFF2-40B4-BE49-F238E27FC236}">
                  <a16:creationId xmlns:a16="http://schemas.microsoft.com/office/drawing/2014/main" id="{BFCBAFA8-DCF7-E41A-9E0A-E26021CD27E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938D90B5-9A28-0C84-CB12-E8F73FF67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1" y="351"/>
              <a:ext cx="3178" cy="3615"/>
            </a:xfrm>
            <a:custGeom>
              <a:avLst/>
              <a:gdLst>
                <a:gd name="T0" fmla="*/ 1693 w 1696"/>
                <a:gd name="T1" fmla="*/ 1152 h 1928"/>
                <a:gd name="T2" fmla="*/ 1394 w 1696"/>
                <a:gd name="T3" fmla="*/ 1637 h 1928"/>
                <a:gd name="T4" fmla="*/ 865 w 1696"/>
                <a:gd name="T5" fmla="*/ 1831 h 1928"/>
                <a:gd name="T6" fmla="*/ 924 w 1696"/>
                <a:gd name="T7" fmla="*/ 1891 h 1928"/>
                <a:gd name="T8" fmla="*/ 923 w 1696"/>
                <a:gd name="T9" fmla="*/ 1922 h 1928"/>
                <a:gd name="T10" fmla="*/ 908 w 1696"/>
                <a:gd name="T11" fmla="*/ 1928 h 1928"/>
                <a:gd name="T12" fmla="*/ 892 w 1696"/>
                <a:gd name="T13" fmla="*/ 1922 h 1928"/>
                <a:gd name="T14" fmla="*/ 796 w 1696"/>
                <a:gd name="T15" fmla="*/ 1823 h 1928"/>
                <a:gd name="T16" fmla="*/ 796 w 1696"/>
                <a:gd name="T17" fmla="*/ 1791 h 1928"/>
                <a:gd name="T18" fmla="*/ 895 w 1696"/>
                <a:gd name="T19" fmla="*/ 1695 h 1928"/>
                <a:gd name="T20" fmla="*/ 926 w 1696"/>
                <a:gd name="T21" fmla="*/ 1695 h 1928"/>
                <a:gd name="T22" fmla="*/ 926 w 1696"/>
                <a:gd name="T23" fmla="*/ 1726 h 1928"/>
                <a:gd name="T24" fmla="*/ 864 w 1696"/>
                <a:gd name="T25" fmla="*/ 1787 h 1928"/>
                <a:gd name="T26" fmla="*/ 1650 w 1696"/>
                <a:gd name="T27" fmla="*/ 1143 h 1928"/>
                <a:gd name="T28" fmla="*/ 1677 w 1696"/>
                <a:gd name="T29" fmla="*/ 1126 h 1928"/>
                <a:gd name="T30" fmla="*/ 1693 w 1696"/>
                <a:gd name="T31" fmla="*/ 1152 h 1928"/>
                <a:gd name="T32" fmla="*/ 900 w 1696"/>
                <a:gd name="T33" fmla="*/ 107 h 1928"/>
                <a:gd name="T34" fmla="*/ 804 w 1696"/>
                <a:gd name="T35" fmla="*/ 8 h 1928"/>
                <a:gd name="T36" fmla="*/ 773 w 1696"/>
                <a:gd name="T37" fmla="*/ 8 h 1928"/>
                <a:gd name="T38" fmla="*/ 772 w 1696"/>
                <a:gd name="T39" fmla="*/ 39 h 1928"/>
                <a:gd name="T40" fmla="*/ 831 w 1696"/>
                <a:gd name="T41" fmla="*/ 99 h 1928"/>
                <a:gd name="T42" fmla="*/ 302 w 1696"/>
                <a:gd name="T43" fmla="*/ 293 h 1928"/>
                <a:gd name="T44" fmla="*/ 3 w 1696"/>
                <a:gd name="T45" fmla="*/ 778 h 1928"/>
                <a:gd name="T46" fmla="*/ 19 w 1696"/>
                <a:gd name="T47" fmla="*/ 804 h 1928"/>
                <a:gd name="T48" fmla="*/ 24 w 1696"/>
                <a:gd name="T49" fmla="*/ 804 h 1928"/>
                <a:gd name="T50" fmla="*/ 46 w 1696"/>
                <a:gd name="T51" fmla="*/ 787 h 1928"/>
                <a:gd name="T52" fmla="*/ 832 w 1696"/>
                <a:gd name="T53" fmla="*/ 143 h 1928"/>
                <a:gd name="T54" fmla="*/ 770 w 1696"/>
                <a:gd name="T55" fmla="*/ 204 h 1928"/>
                <a:gd name="T56" fmla="*/ 770 w 1696"/>
                <a:gd name="T57" fmla="*/ 235 h 1928"/>
                <a:gd name="T58" fmla="*/ 786 w 1696"/>
                <a:gd name="T59" fmla="*/ 241 h 1928"/>
                <a:gd name="T60" fmla="*/ 801 w 1696"/>
                <a:gd name="T61" fmla="*/ 235 h 1928"/>
                <a:gd name="T62" fmla="*/ 900 w 1696"/>
                <a:gd name="T63" fmla="*/ 139 h 1928"/>
                <a:gd name="T64" fmla="*/ 900 w 1696"/>
                <a:gd name="T65" fmla="*/ 107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96" h="1928">
                  <a:moveTo>
                    <a:pt x="1693" y="1152"/>
                  </a:moveTo>
                  <a:cubicBezTo>
                    <a:pt x="1652" y="1342"/>
                    <a:pt x="1545" y="1514"/>
                    <a:pt x="1394" y="1637"/>
                  </a:cubicBezTo>
                  <a:cubicBezTo>
                    <a:pt x="1245" y="1759"/>
                    <a:pt x="1057" y="1827"/>
                    <a:pt x="865" y="1831"/>
                  </a:cubicBezTo>
                  <a:cubicBezTo>
                    <a:pt x="924" y="1891"/>
                    <a:pt x="924" y="1891"/>
                    <a:pt x="924" y="1891"/>
                  </a:cubicBezTo>
                  <a:cubicBezTo>
                    <a:pt x="932" y="1900"/>
                    <a:pt x="932" y="1914"/>
                    <a:pt x="923" y="1922"/>
                  </a:cubicBezTo>
                  <a:cubicBezTo>
                    <a:pt x="919" y="1926"/>
                    <a:pt x="913" y="1928"/>
                    <a:pt x="908" y="1928"/>
                  </a:cubicBezTo>
                  <a:cubicBezTo>
                    <a:pt x="902" y="1928"/>
                    <a:pt x="896" y="1926"/>
                    <a:pt x="892" y="1922"/>
                  </a:cubicBezTo>
                  <a:cubicBezTo>
                    <a:pt x="796" y="1823"/>
                    <a:pt x="796" y="1823"/>
                    <a:pt x="796" y="1823"/>
                  </a:cubicBezTo>
                  <a:cubicBezTo>
                    <a:pt x="787" y="1814"/>
                    <a:pt x="787" y="1800"/>
                    <a:pt x="796" y="1791"/>
                  </a:cubicBezTo>
                  <a:cubicBezTo>
                    <a:pt x="895" y="1695"/>
                    <a:pt x="895" y="1695"/>
                    <a:pt x="895" y="1695"/>
                  </a:cubicBezTo>
                  <a:cubicBezTo>
                    <a:pt x="904" y="1686"/>
                    <a:pt x="918" y="1687"/>
                    <a:pt x="926" y="1695"/>
                  </a:cubicBezTo>
                  <a:cubicBezTo>
                    <a:pt x="935" y="1704"/>
                    <a:pt x="934" y="1718"/>
                    <a:pt x="926" y="1726"/>
                  </a:cubicBezTo>
                  <a:cubicBezTo>
                    <a:pt x="864" y="1787"/>
                    <a:pt x="864" y="1787"/>
                    <a:pt x="864" y="1787"/>
                  </a:cubicBezTo>
                  <a:cubicBezTo>
                    <a:pt x="1240" y="1779"/>
                    <a:pt x="1569" y="1511"/>
                    <a:pt x="1650" y="1143"/>
                  </a:cubicBezTo>
                  <a:cubicBezTo>
                    <a:pt x="1653" y="1131"/>
                    <a:pt x="1665" y="1124"/>
                    <a:pt x="1677" y="1126"/>
                  </a:cubicBezTo>
                  <a:cubicBezTo>
                    <a:pt x="1689" y="1129"/>
                    <a:pt x="1696" y="1141"/>
                    <a:pt x="1693" y="1152"/>
                  </a:cubicBezTo>
                  <a:close/>
                  <a:moveTo>
                    <a:pt x="900" y="107"/>
                  </a:moveTo>
                  <a:cubicBezTo>
                    <a:pt x="804" y="8"/>
                    <a:pt x="804" y="8"/>
                    <a:pt x="804" y="8"/>
                  </a:cubicBezTo>
                  <a:cubicBezTo>
                    <a:pt x="795" y="0"/>
                    <a:pt x="782" y="0"/>
                    <a:pt x="773" y="8"/>
                  </a:cubicBezTo>
                  <a:cubicBezTo>
                    <a:pt x="764" y="17"/>
                    <a:pt x="764" y="30"/>
                    <a:pt x="772" y="39"/>
                  </a:cubicBezTo>
                  <a:cubicBezTo>
                    <a:pt x="831" y="99"/>
                    <a:pt x="831" y="99"/>
                    <a:pt x="831" y="99"/>
                  </a:cubicBezTo>
                  <a:cubicBezTo>
                    <a:pt x="639" y="103"/>
                    <a:pt x="451" y="172"/>
                    <a:pt x="302" y="293"/>
                  </a:cubicBezTo>
                  <a:cubicBezTo>
                    <a:pt x="151" y="416"/>
                    <a:pt x="44" y="588"/>
                    <a:pt x="3" y="778"/>
                  </a:cubicBezTo>
                  <a:cubicBezTo>
                    <a:pt x="0" y="789"/>
                    <a:pt x="7" y="801"/>
                    <a:pt x="19" y="804"/>
                  </a:cubicBezTo>
                  <a:cubicBezTo>
                    <a:pt x="21" y="804"/>
                    <a:pt x="23" y="804"/>
                    <a:pt x="24" y="804"/>
                  </a:cubicBezTo>
                  <a:cubicBezTo>
                    <a:pt x="34" y="804"/>
                    <a:pt x="43" y="797"/>
                    <a:pt x="46" y="787"/>
                  </a:cubicBezTo>
                  <a:cubicBezTo>
                    <a:pt x="127" y="419"/>
                    <a:pt x="456" y="151"/>
                    <a:pt x="832" y="143"/>
                  </a:cubicBezTo>
                  <a:cubicBezTo>
                    <a:pt x="770" y="204"/>
                    <a:pt x="770" y="204"/>
                    <a:pt x="770" y="204"/>
                  </a:cubicBezTo>
                  <a:cubicBezTo>
                    <a:pt x="762" y="212"/>
                    <a:pt x="761" y="226"/>
                    <a:pt x="770" y="235"/>
                  </a:cubicBezTo>
                  <a:cubicBezTo>
                    <a:pt x="774" y="239"/>
                    <a:pt x="780" y="241"/>
                    <a:pt x="786" y="241"/>
                  </a:cubicBezTo>
                  <a:cubicBezTo>
                    <a:pt x="791" y="241"/>
                    <a:pt x="797" y="239"/>
                    <a:pt x="801" y="235"/>
                  </a:cubicBezTo>
                  <a:cubicBezTo>
                    <a:pt x="900" y="139"/>
                    <a:pt x="900" y="139"/>
                    <a:pt x="900" y="139"/>
                  </a:cubicBezTo>
                  <a:cubicBezTo>
                    <a:pt x="909" y="130"/>
                    <a:pt x="909" y="116"/>
                    <a:pt x="900" y="10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76BA3CFF-C9F0-248D-0125-AD305D0BCE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2" y="570"/>
              <a:ext cx="3616" cy="3176"/>
            </a:xfrm>
            <a:custGeom>
              <a:avLst/>
              <a:gdLst>
                <a:gd name="T0" fmla="*/ 1922 w 1930"/>
                <a:gd name="T1" fmla="*/ 804 h 1694"/>
                <a:gd name="T2" fmla="*/ 1823 w 1930"/>
                <a:gd name="T3" fmla="*/ 900 h 1694"/>
                <a:gd name="T4" fmla="*/ 1807 w 1930"/>
                <a:gd name="T5" fmla="*/ 907 h 1694"/>
                <a:gd name="T6" fmla="*/ 1791 w 1930"/>
                <a:gd name="T7" fmla="*/ 900 h 1694"/>
                <a:gd name="T8" fmla="*/ 1695 w 1930"/>
                <a:gd name="T9" fmla="*/ 801 h 1694"/>
                <a:gd name="T10" fmla="*/ 1695 w 1930"/>
                <a:gd name="T11" fmla="*/ 770 h 1694"/>
                <a:gd name="T12" fmla="*/ 1726 w 1930"/>
                <a:gd name="T13" fmla="*/ 770 h 1694"/>
                <a:gd name="T14" fmla="*/ 1787 w 1930"/>
                <a:gd name="T15" fmla="*/ 832 h 1694"/>
                <a:gd name="T16" fmla="*/ 1143 w 1930"/>
                <a:gd name="T17" fmla="*/ 46 h 1694"/>
                <a:gd name="T18" fmla="*/ 1126 w 1930"/>
                <a:gd name="T19" fmla="*/ 19 h 1694"/>
                <a:gd name="T20" fmla="*/ 1152 w 1930"/>
                <a:gd name="T21" fmla="*/ 3 h 1694"/>
                <a:gd name="T22" fmla="*/ 1637 w 1930"/>
                <a:gd name="T23" fmla="*/ 302 h 1694"/>
                <a:gd name="T24" fmla="*/ 1831 w 1930"/>
                <a:gd name="T25" fmla="*/ 831 h 1694"/>
                <a:gd name="T26" fmla="*/ 1891 w 1930"/>
                <a:gd name="T27" fmla="*/ 772 h 1694"/>
                <a:gd name="T28" fmla="*/ 1922 w 1930"/>
                <a:gd name="T29" fmla="*/ 773 h 1694"/>
                <a:gd name="T30" fmla="*/ 1922 w 1930"/>
                <a:gd name="T31" fmla="*/ 804 h 1694"/>
                <a:gd name="T32" fmla="*/ 787 w 1930"/>
                <a:gd name="T33" fmla="*/ 1651 h 1694"/>
                <a:gd name="T34" fmla="*/ 143 w 1930"/>
                <a:gd name="T35" fmla="*/ 864 h 1694"/>
                <a:gd name="T36" fmla="*/ 204 w 1930"/>
                <a:gd name="T37" fmla="*/ 926 h 1694"/>
                <a:gd name="T38" fmla="*/ 219 w 1930"/>
                <a:gd name="T39" fmla="*/ 932 h 1694"/>
                <a:gd name="T40" fmla="*/ 235 w 1930"/>
                <a:gd name="T41" fmla="*/ 926 h 1694"/>
                <a:gd name="T42" fmla="*/ 235 w 1930"/>
                <a:gd name="T43" fmla="*/ 895 h 1694"/>
                <a:gd name="T44" fmla="*/ 139 w 1930"/>
                <a:gd name="T45" fmla="*/ 796 h 1694"/>
                <a:gd name="T46" fmla="*/ 107 w 1930"/>
                <a:gd name="T47" fmla="*/ 796 h 1694"/>
                <a:gd name="T48" fmla="*/ 8 w 1930"/>
                <a:gd name="T49" fmla="*/ 892 h 1694"/>
                <a:gd name="T50" fmla="*/ 8 w 1930"/>
                <a:gd name="T51" fmla="*/ 923 h 1694"/>
                <a:gd name="T52" fmla="*/ 39 w 1930"/>
                <a:gd name="T53" fmla="*/ 924 h 1694"/>
                <a:gd name="T54" fmla="*/ 99 w 1930"/>
                <a:gd name="T55" fmla="*/ 865 h 1694"/>
                <a:gd name="T56" fmla="*/ 293 w 1930"/>
                <a:gd name="T57" fmla="*/ 1394 h 1694"/>
                <a:gd name="T58" fmla="*/ 778 w 1930"/>
                <a:gd name="T59" fmla="*/ 1693 h 1694"/>
                <a:gd name="T60" fmla="*/ 782 w 1930"/>
                <a:gd name="T61" fmla="*/ 1694 h 1694"/>
                <a:gd name="T62" fmla="*/ 804 w 1930"/>
                <a:gd name="T63" fmla="*/ 1677 h 1694"/>
                <a:gd name="T64" fmla="*/ 787 w 1930"/>
                <a:gd name="T65" fmla="*/ 1651 h 1694"/>
                <a:gd name="T66" fmla="*/ 1473 w 1930"/>
                <a:gd name="T67" fmla="*/ 848 h 1694"/>
                <a:gd name="T68" fmla="*/ 965 w 1930"/>
                <a:gd name="T69" fmla="*/ 1356 h 1694"/>
                <a:gd name="T70" fmla="*/ 457 w 1930"/>
                <a:gd name="T71" fmla="*/ 848 h 1694"/>
                <a:gd name="T72" fmla="*/ 965 w 1930"/>
                <a:gd name="T73" fmla="*/ 340 h 1694"/>
                <a:gd name="T74" fmla="*/ 1473 w 1930"/>
                <a:gd name="T75" fmla="*/ 848 h 1694"/>
                <a:gd name="T76" fmla="*/ 1290 w 1930"/>
                <a:gd name="T77" fmla="*/ 639 h 1694"/>
                <a:gd name="T78" fmla="*/ 1259 w 1930"/>
                <a:gd name="T79" fmla="*/ 640 h 1694"/>
                <a:gd name="T80" fmla="*/ 921 w 1930"/>
                <a:gd name="T81" fmla="*/ 988 h 1694"/>
                <a:gd name="T82" fmla="*/ 735 w 1930"/>
                <a:gd name="T83" fmla="*/ 819 h 1694"/>
                <a:gd name="T84" fmla="*/ 704 w 1930"/>
                <a:gd name="T85" fmla="*/ 820 h 1694"/>
                <a:gd name="T86" fmla="*/ 705 w 1930"/>
                <a:gd name="T87" fmla="*/ 851 h 1694"/>
                <a:gd name="T88" fmla="*/ 907 w 1930"/>
                <a:gd name="T89" fmla="*/ 1035 h 1694"/>
                <a:gd name="T90" fmla="*/ 922 w 1930"/>
                <a:gd name="T91" fmla="*/ 1041 h 1694"/>
                <a:gd name="T92" fmla="*/ 937 w 1930"/>
                <a:gd name="T93" fmla="*/ 1034 h 1694"/>
                <a:gd name="T94" fmla="*/ 1290 w 1930"/>
                <a:gd name="T95" fmla="*/ 671 h 1694"/>
                <a:gd name="T96" fmla="*/ 1290 w 1930"/>
                <a:gd name="T97" fmla="*/ 639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30" h="1694">
                  <a:moveTo>
                    <a:pt x="1922" y="804"/>
                  </a:moveTo>
                  <a:cubicBezTo>
                    <a:pt x="1823" y="900"/>
                    <a:pt x="1823" y="900"/>
                    <a:pt x="1823" y="900"/>
                  </a:cubicBezTo>
                  <a:cubicBezTo>
                    <a:pt x="1818" y="905"/>
                    <a:pt x="1813" y="907"/>
                    <a:pt x="1807" y="907"/>
                  </a:cubicBezTo>
                  <a:cubicBezTo>
                    <a:pt x="1801" y="907"/>
                    <a:pt x="1796" y="904"/>
                    <a:pt x="1791" y="900"/>
                  </a:cubicBezTo>
                  <a:cubicBezTo>
                    <a:pt x="1695" y="801"/>
                    <a:pt x="1695" y="801"/>
                    <a:pt x="1695" y="801"/>
                  </a:cubicBezTo>
                  <a:cubicBezTo>
                    <a:pt x="1686" y="792"/>
                    <a:pt x="1687" y="778"/>
                    <a:pt x="1695" y="770"/>
                  </a:cubicBezTo>
                  <a:cubicBezTo>
                    <a:pt x="1704" y="761"/>
                    <a:pt x="1718" y="762"/>
                    <a:pt x="1726" y="770"/>
                  </a:cubicBezTo>
                  <a:cubicBezTo>
                    <a:pt x="1787" y="832"/>
                    <a:pt x="1787" y="832"/>
                    <a:pt x="1787" y="832"/>
                  </a:cubicBezTo>
                  <a:cubicBezTo>
                    <a:pt x="1779" y="456"/>
                    <a:pt x="1511" y="127"/>
                    <a:pt x="1143" y="46"/>
                  </a:cubicBezTo>
                  <a:cubicBezTo>
                    <a:pt x="1131" y="43"/>
                    <a:pt x="1124" y="31"/>
                    <a:pt x="1126" y="19"/>
                  </a:cubicBezTo>
                  <a:cubicBezTo>
                    <a:pt x="1129" y="8"/>
                    <a:pt x="1141" y="0"/>
                    <a:pt x="1152" y="3"/>
                  </a:cubicBezTo>
                  <a:cubicBezTo>
                    <a:pt x="1342" y="44"/>
                    <a:pt x="1514" y="151"/>
                    <a:pt x="1637" y="302"/>
                  </a:cubicBezTo>
                  <a:cubicBezTo>
                    <a:pt x="1759" y="451"/>
                    <a:pt x="1827" y="639"/>
                    <a:pt x="1831" y="831"/>
                  </a:cubicBezTo>
                  <a:cubicBezTo>
                    <a:pt x="1891" y="772"/>
                    <a:pt x="1891" y="772"/>
                    <a:pt x="1891" y="772"/>
                  </a:cubicBezTo>
                  <a:cubicBezTo>
                    <a:pt x="1900" y="764"/>
                    <a:pt x="1914" y="764"/>
                    <a:pt x="1922" y="773"/>
                  </a:cubicBezTo>
                  <a:cubicBezTo>
                    <a:pt x="1930" y="781"/>
                    <a:pt x="1930" y="795"/>
                    <a:pt x="1922" y="804"/>
                  </a:cubicBezTo>
                  <a:close/>
                  <a:moveTo>
                    <a:pt x="787" y="1651"/>
                  </a:moveTo>
                  <a:cubicBezTo>
                    <a:pt x="419" y="1569"/>
                    <a:pt x="151" y="1240"/>
                    <a:pt x="143" y="864"/>
                  </a:cubicBezTo>
                  <a:cubicBezTo>
                    <a:pt x="204" y="926"/>
                    <a:pt x="204" y="926"/>
                    <a:pt x="204" y="926"/>
                  </a:cubicBezTo>
                  <a:cubicBezTo>
                    <a:pt x="208" y="930"/>
                    <a:pt x="214" y="932"/>
                    <a:pt x="219" y="932"/>
                  </a:cubicBezTo>
                  <a:cubicBezTo>
                    <a:pt x="225" y="932"/>
                    <a:pt x="230" y="930"/>
                    <a:pt x="235" y="926"/>
                  </a:cubicBezTo>
                  <a:cubicBezTo>
                    <a:pt x="243" y="918"/>
                    <a:pt x="244" y="904"/>
                    <a:pt x="235" y="895"/>
                  </a:cubicBezTo>
                  <a:cubicBezTo>
                    <a:pt x="139" y="796"/>
                    <a:pt x="139" y="796"/>
                    <a:pt x="139" y="796"/>
                  </a:cubicBezTo>
                  <a:cubicBezTo>
                    <a:pt x="130" y="787"/>
                    <a:pt x="116" y="787"/>
                    <a:pt x="107" y="796"/>
                  </a:cubicBezTo>
                  <a:cubicBezTo>
                    <a:pt x="8" y="892"/>
                    <a:pt x="8" y="892"/>
                    <a:pt x="8" y="892"/>
                  </a:cubicBezTo>
                  <a:cubicBezTo>
                    <a:pt x="0" y="901"/>
                    <a:pt x="0" y="915"/>
                    <a:pt x="8" y="923"/>
                  </a:cubicBezTo>
                  <a:cubicBezTo>
                    <a:pt x="16" y="932"/>
                    <a:pt x="30" y="932"/>
                    <a:pt x="39" y="924"/>
                  </a:cubicBezTo>
                  <a:cubicBezTo>
                    <a:pt x="99" y="865"/>
                    <a:pt x="99" y="865"/>
                    <a:pt x="99" y="865"/>
                  </a:cubicBezTo>
                  <a:cubicBezTo>
                    <a:pt x="103" y="1057"/>
                    <a:pt x="172" y="1245"/>
                    <a:pt x="293" y="1394"/>
                  </a:cubicBezTo>
                  <a:cubicBezTo>
                    <a:pt x="416" y="1545"/>
                    <a:pt x="588" y="1652"/>
                    <a:pt x="778" y="1693"/>
                  </a:cubicBezTo>
                  <a:cubicBezTo>
                    <a:pt x="779" y="1694"/>
                    <a:pt x="781" y="1694"/>
                    <a:pt x="782" y="1694"/>
                  </a:cubicBezTo>
                  <a:cubicBezTo>
                    <a:pt x="792" y="1694"/>
                    <a:pt x="802" y="1687"/>
                    <a:pt x="804" y="1677"/>
                  </a:cubicBezTo>
                  <a:cubicBezTo>
                    <a:pt x="806" y="1665"/>
                    <a:pt x="799" y="1653"/>
                    <a:pt x="787" y="1651"/>
                  </a:cubicBezTo>
                  <a:close/>
                  <a:moveTo>
                    <a:pt x="1473" y="848"/>
                  </a:moveTo>
                  <a:cubicBezTo>
                    <a:pt x="1473" y="1129"/>
                    <a:pt x="1246" y="1356"/>
                    <a:pt x="965" y="1356"/>
                  </a:cubicBezTo>
                  <a:cubicBezTo>
                    <a:pt x="684" y="1356"/>
                    <a:pt x="457" y="1129"/>
                    <a:pt x="457" y="848"/>
                  </a:cubicBezTo>
                  <a:cubicBezTo>
                    <a:pt x="457" y="567"/>
                    <a:pt x="684" y="340"/>
                    <a:pt x="965" y="340"/>
                  </a:cubicBezTo>
                  <a:cubicBezTo>
                    <a:pt x="1246" y="340"/>
                    <a:pt x="1473" y="567"/>
                    <a:pt x="1473" y="848"/>
                  </a:cubicBezTo>
                  <a:close/>
                  <a:moveTo>
                    <a:pt x="1290" y="639"/>
                  </a:moveTo>
                  <a:cubicBezTo>
                    <a:pt x="1281" y="631"/>
                    <a:pt x="1267" y="631"/>
                    <a:pt x="1259" y="640"/>
                  </a:cubicBezTo>
                  <a:cubicBezTo>
                    <a:pt x="921" y="988"/>
                    <a:pt x="921" y="988"/>
                    <a:pt x="921" y="988"/>
                  </a:cubicBezTo>
                  <a:cubicBezTo>
                    <a:pt x="735" y="819"/>
                    <a:pt x="735" y="819"/>
                    <a:pt x="735" y="819"/>
                  </a:cubicBezTo>
                  <a:cubicBezTo>
                    <a:pt x="726" y="810"/>
                    <a:pt x="712" y="811"/>
                    <a:pt x="704" y="820"/>
                  </a:cubicBezTo>
                  <a:cubicBezTo>
                    <a:pt x="696" y="829"/>
                    <a:pt x="696" y="843"/>
                    <a:pt x="705" y="851"/>
                  </a:cubicBezTo>
                  <a:cubicBezTo>
                    <a:pt x="907" y="1035"/>
                    <a:pt x="907" y="1035"/>
                    <a:pt x="907" y="1035"/>
                  </a:cubicBezTo>
                  <a:cubicBezTo>
                    <a:pt x="911" y="1039"/>
                    <a:pt x="916" y="1041"/>
                    <a:pt x="922" y="1041"/>
                  </a:cubicBezTo>
                  <a:cubicBezTo>
                    <a:pt x="927" y="1041"/>
                    <a:pt x="933" y="1039"/>
                    <a:pt x="937" y="1034"/>
                  </a:cubicBezTo>
                  <a:cubicBezTo>
                    <a:pt x="1290" y="671"/>
                    <a:pt x="1290" y="671"/>
                    <a:pt x="1290" y="671"/>
                  </a:cubicBezTo>
                  <a:cubicBezTo>
                    <a:pt x="1299" y="662"/>
                    <a:pt x="1299" y="648"/>
                    <a:pt x="1290" y="6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" name="Group 16">
            <a:extLst>
              <a:ext uri="{FF2B5EF4-FFF2-40B4-BE49-F238E27FC236}">
                <a16:creationId xmlns:a16="http://schemas.microsoft.com/office/drawing/2014/main" id="{4EF2583A-1B39-B716-8B39-25A6193984BF}"/>
              </a:ext>
            </a:extLst>
          </p:cNvPr>
          <p:cNvGrpSpPr/>
          <p:nvPr/>
        </p:nvGrpSpPr>
        <p:grpSpPr>
          <a:xfrm>
            <a:off x="304298" y="2280811"/>
            <a:ext cx="832840" cy="833612"/>
            <a:chOff x="7630318" y="4999980"/>
            <a:chExt cx="365745" cy="366177"/>
          </a:xfrm>
        </p:grpSpPr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915866FD-2DEF-A44D-4557-CE511FE23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0318" y="4999980"/>
              <a:ext cx="365745" cy="366177"/>
            </a:xfrm>
            <a:custGeom>
              <a:avLst/>
              <a:gdLst>
                <a:gd name="T0" fmla="*/ 280 w 1808"/>
                <a:gd name="T1" fmla="*/ 1550 h 1808"/>
                <a:gd name="T2" fmla="*/ 258 w 1808"/>
                <a:gd name="T3" fmla="*/ 280 h 1808"/>
                <a:gd name="T4" fmla="*/ 1528 w 1808"/>
                <a:gd name="T5" fmla="*/ 258 h 1808"/>
                <a:gd name="T6" fmla="*/ 1550 w 1808"/>
                <a:gd name="T7" fmla="*/ 1528 h 1808"/>
                <a:gd name="T8" fmla="*/ 302 w 1808"/>
                <a:gd name="T9" fmla="*/ 1506 h 1808"/>
                <a:gd name="T10" fmla="*/ 1506 w 1808"/>
                <a:gd name="T11" fmla="*/ 302 h 1808"/>
                <a:gd name="T12" fmla="*/ 302 w 1808"/>
                <a:gd name="T13" fmla="*/ 1506 h 1808"/>
                <a:gd name="T14" fmla="*/ 550 w 1808"/>
                <a:gd name="T15" fmla="*/ 22 h 1808"/>
                <a:gd name="T16" fmla="*/ 506 w 1808"/>
                <a:gd name="T17" fmla="*/ 22 h 1808"/>
                <a:gd name="T18" fmla="*/ 528 w 1808"/>
                <a:gd name="T19" fmla="*/ 202 h 1808"/>
                <a:gd name="T20" fmla="*/ 801 w 1808"/>
                <a:gd name="T21" fmla="*/ 180 h 1808"/>
                <a:gd name="T22" fmla="*/ 779 w 1808"/>
                <a:gd name="T23" fmla="*/ 0 h 1808"/>
                <a:gd name="T24" fmla="*/ 757 w 1808"/>
                <a:gd name="T25" fmla="*/ 180 h 1808"/>
                <a:gd name="T26" fmla="*/ 801 w 1808"/>
                <a:gd name="T27" fmla="*/ 180 h 1808"/>
                <a:gd name="T28" fmla="*/ 1051 w 1808"/>
                <a:gd name="T29" fmla="*/ 22 h 1808"/>
                <a:gd name="T30" fmla="*/ 1007 w 1808"/>
                <a:gd name="T31" fmla="*/ 22 h 1808"/>
                <a:gd name="T32" fmla="*/ 1029 w 1808"/>
                <a:gd name="T33" fmla="*/ 202 h 1808"/>
                <a:gd name="T34" fmla="*/ 1302 w 1808"/>
                <a:gd name="T35" fmla="*/ 180 h 1808"/>
                <a:gd name="T36" fmla="*/ 1280 w 1808"/>
                <a:gd name="T37" fmla="*/ 0 h 1808"/>
                <a:gd name="T38" fmla="*/ 1258 w 1808"/>
                <a:gd name="T39" fmla="*/ 180 h 1808"/>
                <a:gd name="T40" fmla="*/ 1302 w 1808"/>
                <a:gd name="T41" fmla="*/ 180 h 1808"/>
                <a:gd name="T42" fmla="*/ 550 w 1808"/>
                <a:gd name="T43" fmla="*/ 1628 h 1808"/>
                <a:gd name="T44" fmla="*/ 506 w 1808"/>
                <a:gd name="T45" fmla="*/ 1628 h 1808"/>
                <a:gd name="T46" fmla="*/ 528 w 1808"/>
                <a:gd name="T47" fmla="*/ 1808 h 1808"/>
                <a:gd name="T48" fmla="*/ 801 w 1808"/>
                <a:gd name="T49" fmla="*/ 1786 h 1808"/>
                <a:gd name="T50" fmla="*/ 779 w 1808"/>
                <a:gd name="T51" fmla="*/ 1606 h 1808"/>
                <a:gd name="T52" fmla="*/ 757 w 1808"/>
                <a:gd name="T53" fmla="*/ 1786 h 1808"/>
                <a:gd name="T54" fmla="*/ 801 w 1808"/>
                <a:gd name="T55" fmla="*/ 1786 h 1808"/>
                <a:gd name="T56" fmla="*/ 1051 w 1808"/>
                <a:gd name="T57" fmla="*/ 1628 h 1808"/>
                <a:gd name="T58" fmla="*/ 1007 w 1808"/>
                <a:gd name="T59" fmla="*/ 1628 h 1808"/>
                <a:gd name="T60" fmla="*/ 1029 w 1808"/>
                <a:gd name="T61" fmla="*/ 1808 h 1808"/>
                <a:gd name="T62" fmla="*/ 1302 w 1808"/>
                <a:gd name="T63" fmla="*/ 1786 h 1808"/>
                <a:gd name="T64" fmla="*/ 1280 w 1808"/>
                <a:gd name="T65" fmla="*/ 1606 h 1808"/>
                <a:gd name="T66" fmla="*/ 1258 w 1808"/>
                <a:gd name="T67" fmla="*/ 1786 h 1808"/>
                <a:gd name="T68" fmla="*/ 1302 w 1808"/>
                <a:gd name="T69" fmla="*/ 1786 h 1808"/>
                <a:gd name="T70" fmla="*/ 1786 w 1808"/>
                <a:gd name="T71" fmla="*/ 506 h 1808"/>
                <a:gd name="T72" fmla="*/ 1606 w 1808"/>
                <a:gd name="T73" fmla="*/ 528 h 1808"/>
                <a:gd name="T74" fmla="*/ 1786 w 1808"/>
                <a:gd name="T75" fmla="*/ 550 h 1808"/>
                <a:gd name="T76" fmla="*/ 1808 w 1808"/>
                <a:gd name="T77" fmla="*/ 779 h 1808"/>
                <a:gd name="T78" fmla="*/ 1628 w 1808"/>
                <a:gd name="T79" fmla="*/ 757 h 1808"/>
                <a:gd name="T80" fmla="*/ 1628 w 1808"/>
                <a:gd name="T81" fmla="*/ 801 h 1808"/>
                <a:gd name="T82" fmla="*/ 1808 w 1808"/>
                <a:gd name="T83" fmla="*/ 779 h 1808"/>
                <a:gd name="T84" fmla="*/ 1786 w 1808"/>
                <a:gd name="T85" fmla="*/ 1007 h 1808"/>
                <a:gd name="T86" fmla="*/ 1606 w 1808"/>
                <a:gd name="T87" fmla="*/ 1029 h 1808"/>
                <a:gd name="T88" fmla="*/ 1786 w 1808"/>
                <a:gd name="T89" fmla="*/ 1051 h 1808"/>
                <a:gd name="T90" fmla="*/ 1808 w 1808"/>
                <a:gd name="T91" fmla="*/ 1280 h 1808"/>
                <a:gd name="T92" fmla="*/ 1628 w 1808"/>
                <a:gd name="T93" fmla="*/ 1258 h 1808"/>
                <a:gd name="T94" fmla="*/ 1628 w 1808"/>
                <a:gd name="T95" fmla="*/ 1302 h 1808"/>
                <a:gd name="T96" fmla="*/ 1808 w 1808"/>
                <a:gd name="T97" fmla="*/ 1280 h 1808"/>
                <a:gd name="T98" fmla="*/ 180 w 1808"/>
                <a:gd name="T99" fmla="*/ 506 h 1808"/>
                <a:gd name="T100" fmla="*/ 0 w 1808"/>
                <a:gd name="T101" fmla="*/ 528 h 1808"/>
                <a:gd name="T102" fmla="*/ 180 w 1808"/>
                <a:gd name="T103" fmla="*/ 550 h 1808"/>
                <a:gd name="T104" fmla="*/ 202 w 1808"/>
                <a:gd name="T105" fmla="*/ 779 h 1808"/>
                <a:gd name="T106" fmla="*/ 22 w 1808"/>
                <a:gd name="T107" fmla="*/ 757 h 1808"/>
                <a:gd name="T108" fmla="*/ 22 w 1808"/>
                <a:gd name="T109" fmla="*/ 801 h 1808"/>
                <a:gd name="T110" fmla="*/ 202 w 1808"/>
                <a:gd name="T111" fmla="*/ 779 h 1808"/>
                <a:gd name="T112" fmla="*/ 180 w 1808"/>
                <a:gd name="T113" fmla="*/ 1007 h 1808"/>
                <a:gd name="T114" fmla="*/ 0 w 1808"/>
                <a:gd name="T115" fmla="*/ 1029 h 1808"/>
                <a:gd name="T116" fmla="*/ 180 w 1808"/>
                <a:gd name="T117" fmla="*/ 1051 h 1808"/>
                <a:gd name="T118" fmla="*/ 202 w 1808"/>
                <a:gd name="T119" fmla="*/ 1280 h 1808"/>
                <a:gd name="T120" fmla="*/ 22 w 1808"/>
                <a:gd name="T121" fmla="*/ 1258 h 1808"/>
                <a:gd name="T122" fmla="*/ 22 w 1808"/>
                <a:gd name="T123" fmla="*/ 1302 h 1808"/>
                <a:gd name="T124" fmla="*/ 202 w 1808"/>
                <a:gd name="T125" fmla="*/ 1280 h 1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08" h="1808">
                  <a:moveTo>
                    <a:pt x="1528" y="1550"/>
                  </a:moveTo>
                  <a:cubicBezTo>
                    <a:pt x="280" y="1550"/>
                    <a:pt x="280" y="1550"/>
                    <a:pt x="280" y="1550"/>
                  </a:cubicBezTo>
                  <a:cubicBezTo>
                    <a:pt x="268" y="1550"/>
                    <a:pt x="258" y="1540"/>
                    <a:pt x="258" y="152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258" y="268"/>
                    <a:pt x="268" y="258"/>
                    <a:pt x="280" y="258"/>
                  </a:cubicBezTo>
                  <a:cubicBezTo>
                    <a:pt x="1528" y="258"/>
                    <a:pt x="1528" y="258"/>
                    <a:pt x="1528" y="258"/>
                  </a:cubicBezTo>
                  <a:cubicBezTo>
                    <a:pt x="1540" y="258"/>
                    <a:pt x="1550" y="268"/>
                    <a:pt x="1550" y="280"/>
                  </a:cubicBezTo>
                  <a:cubicBezTo>
                    <a:pt x="1550" y="1528"/>
                    <a:pt x="1550" y="1528"/>
                    <a:pt x="1550" y="1528"/>
                  </a:cubicBezTo>
                  <a:cubicBezTo>
                    <a:pt x="1550" y="1540"/>
                    <a:pt x="1540" y="1550"/>
                    <a:pt x="1528" y="1550"/>
                  </a:cubicBezTo>
                  <a:close/>
                  <a:moveTo>
                    <a:pt x="302" y="1506"/>
                  </a:moveTo>
                  <a:cubicBezTo>
                    <a:pt x="1506" y="1506"/>
                    <a:pt x="1506" y="1506"/>
                    <a:pt x="1506" y="1506"/>
                  </a:cubicBezTo>
                  <a:cubicBezTo>
                    <a:pt x="1506" y="302"/>
                    <a:pt x="1506" y="302"/>
                    <a:pt x="1506" y="302"/>
                  </a:cubicBezTo>
                  <a:cubicBezTo>
                    <a:pt x="302" y="302"/>
                    <a:pt x="302" y="302"/>
                    <a:pt x="302" y="302"/>
                  </a:cubicBezTo>
                  <a:lnTo>
                    <a:pt x="302" y="1506"/>
                  </a:lnTo>
                  <a:close/>
                  <a:moveTo>
                    <a:pt x="550" y="180"/>
                  </a:moveTo>
                  <a:cubicBezTo>
                    <a:pt x="550" y="22"/>
                    <a:pt x="550" y="22"/>
                    <a:pt x="550" y="22"/>
                  </a:cubicBezTo>
                  <a:cubicBezTo>
                    <a:pt x="550" y="10"/>
                    <a:pt x="540" y="0"/>
                    <a:pt x="528" y="0"/>
                  </a:cubicBezTo>
                  <a:cubicBezTo>
                    <a:pt x="516" y="0"/>
                    <a:pt x="506" y="10"/>
                    <a:pt x="506" y="22"/>
                  </a:cubicBezTo>
                  <a:cubicBezTo>
                    <a:pt x="506" y="180"/>
                    <a:pt x="506" y="180"/>
                    <a:pt x="506" y="180"/>
                  </a:cubicBezTo>
                  <a:cubicBezTo>
                    <a:pt x="506" y="192"/>
                    <a:pt x="516" y="202"/>
                    <a:pt x="528" y="202"/>
                  </a:cubicBezTo>
                  <a:cubicBezTo>
                    <a:pt x="540" y="202"/>
                    <a:pt x="550" y="192"/>
                    <a:pt x="550" y="180"/>
                  </a:cubicBezTo>
                  <a:close/>
                  <a:moveTo>
                    <a:pt x="801" y="180"/>
                  </a:moveTo>
                  <a:cubicBezTo>
                    <a:pt x="801" y="22"/>
                    <a:pt x="801" y="22"/>
                    <a:pt x="801" y="22"/>
                  </a:cubicBezTo>
                  <a:cubicBezTo>
                    <a:pt x="801" y="10"/>
                    <a:pt x="791" y="0"/>
                    <a:pt x="779" y="0"/>
                  </a:cubicBezTo>
                  <a:cubicBezTo>
                    <a:pt x="766" y="0"/>
                    <a:pt x="757" y="10"/>
                    <a:pt x="757" y="22"/>
                  </a:cubicBezTo>
                  <a:cubicBezTo>
                    <a:pt x="757" y="180"/>
                    <a:pt x="757" y="180"/>
                    <a:pt x="757" y="180"/>
                  </a:cubicBezTo>
                  <a:cubicBezTo>
                    <a:pt x="757" y="192"/>
                    <a:pt x="766" y="202"/>
                    <a:pt x="779" y="202"/>
                  </a:cubicBezTo>
                  <a:cubicBezTo>
                    <a:pt x="791" y="202"/>
                    <a:pt x="801" y="192"/>
                    <a:pt x="801" y="180"/>
                  </a:cubicBezTo>
                  <a:close/>
                  <a:moveTo>
                    <a:pt x="1051" y="180"/>
                  </a:moveTo>
                  <a:cubicBezTo>
                    <a:pt x="1051" y="22"/>
                    <a:pt x="1051" y="22"/>
                    <a:pt x="1051" y="22"/>
                  </a:cubicBezTo>
                  <a:cubicBezTo>
                    <a:pt x="1051" y="10"/>
                    <a:pt x="1042" y="0"/>
                    <a:pt x="1029" y="0"/>
                  </a:cubicBezTo>
                  <a:cubicBezTo>
                    <a:pt x="1017" y="0"/>
                    <a:pt x="1007" y="10"/>
                    <a:pt x="1007" y="22"/>
                  </a:cubicBezTo>
                  <a:cubicBezTo>
                    <a:pt x="1007" y="180"/>
                    <a:pt x="1007" y="180"/>
                    <a:pt x="1007" y="180"/>
                  </a:cubicBezTo>
                  <a:cubicBezTo>
                    <a:pt x="1007" y="192"/>
                    <a:pt x="1017" y="202"/>
                    <a:pt x="1029" y="202"/>
                  </a:cubicBezTo>
                  <a:cubicBezTo>
                    <a:pt x="1042" y="202"/>
                    <a:pt x="1051" y="192"/>
                    <a:pt x="1051" y="180"/>
                  </a:cubicBezTo>
                  <a:close/>
                  <a:moveTo>
                    <a:pt x="1302" y="180"/>
                  </a:moveTo>
                  <a:cubicBezTo>
                    <a:pt x="1302" y="22"/>
                    <a:pt x="1302" y="22"/>
                    <a:pt x="1302" y="22"/>
                  </a:cubicBezTo>
                  <a:cubicBezTo>
                    <a:pt x="1302" y="10"/>
                    <a:pt x="1292" y="0"/>
                    <a:pt x="1280" y="0"/>
                  </a:cubicBezTo>
                  <a:cubicBezTo>
                    <a:pt x="1268" y="0"/>
                    <a:pt x="1258" y="10"/>
                    <a:pt x="1258" y="22"/>
                  </a:cubicBezTo>
                  <a:cubicBezTo>
                    <a:pt x="1258" y="180"/>
                    <a:pt x="1258" y="180"/>
                    <a:pt x="1258" y="180"/>
                  </a:cubicBezTo>
                  <a:cubicBezTo>
                    <a:pt x="1258" y="192"/>
                    <a:pt x="1268" y="202"/>
                    <a:pt x="1280" y="202"/>
                  </a:cubicBezTo>
                  <a:cubicBezTo>
                    <a:pt x="1292" y="202"/>
                    <a:pt x="1302" y="192"/>
                    <a:pt x="1302" y="180"/>
                  </a:cubicBezTo>
                  <a:close/>
                  <a:moveTo>
                    <a:pt x="550" y="1786"/>
                  </a:moveTo>
                  <a:cubicBezTo>
                    <a:pt x="550" y="1628"/>
                    <a:pt x="550" y="1628"/>
                    <a:pt x="550" y="1628"/>
                  </a:cubicBezTo>
                  <a:cubicBezTo>
                    <a:pt x="550" y="1616"/>
                    <a:pt x="540" y="1606"/>
                    <a:pt x="528" y="1606"/>
                  </a:cubicBezTo>
                  <a:cubicBezTo>
                    <a:pt x="516" y="1606"/>
                    <a:pt x="506" y="1616"/>
                    <a:pt x="506" y="1628"/>
                  </a:cubicBezTo>
                  <a:cubicBezTo>
                    <a:pt x="506" y="1786"/>
                    <a:pt x="506" y="1786"/>
                    <a:pt x="506" y="1786"/>
                  </a:cubicBezTo>
                  <a:cubicBezTo>
                    <a:pt x="506" y="1798"/>
                    <a:pt x="516" y="1808"/>
                    <a:pt x="528" y="1808"/>
                  </a:cubicBezTo>
                  <a:cubicBezTo>
                    <a:pt x="540" y="1808"/>
                    <a:pt x="550" y="1798"/>
                    <a:pt x="550" y="1786"/>
                  </a:cubicBezTo>
                  <a:close/>
                  <a:moveTo>
                    <a:pt x="801" y="1786"/>
                  </a:moveTo>
                  <a:cubicBezTo>
                    <a:pt x="801" y="1628"/>
                    <a:pt x="801" y="1628"/>
                    <a:pt x="801" y="1628"/>
                  </a:cubicBezTo>
                  <a:cubicBezTo>
                    <a:pt x="801" y="1616"/>
                    <a:pt x="791" y="1606"/>
                    <a:pt x="779" y="1606"/>
                  </a:cubicBezTo>
                  <a:cubicBezTo>
                    <a:pt x="766" y="1606"/>
                    <a:pt x="757" y="1616"/>
                    <a:pt x="757" y="1628"/>
                  </a:cubicBezTo>
                  <a:cubicBezTo>
                    <a:pt x="757" y="1786"/>
                    <a:pt x="757" y="1786"/>
                    <a:pt x="757" y="1786"/>
                  </a:cubicBezTo>
                  <a:cubicBezTo>
                    <a:pt x="757" y="1798"/>
                    <a:pt x="766" y="1808"/>
                    <a:pt x="779" y="1808"/>
                  </a:cubicBezTo>
                  <a:cubicBezTo>
                    <a:pt x="791" y="1808"/>
                    <a:pt x="801" y="1798"/>
                    <a:pt x="801" y="1786"/>
                  </a:cubicBezTo>
                  <a:close/>
                  <a:moveTo>
                    <a:pt x="1051" y="1786"/>
                  </a:moveTo>
                  <a:cubicBezTo>
                    <a:pt x="1051" y="1628"/>
                    <a:pt x="1051" y="1628"/>
                    <a:pt x="1051" y="1628"/>
                  </a:cubicBezTo>
                  <a:cubicBezTo>
                    <a:pt x="1051" y="1616"/>
                    <a:pt x="1042" y="1606"/>
                    <a:pt x="1029" y="1606"/>
                  </a:cubicBezTo>
                  <a:cubicBezTo>
                    <a:pt x="1017" y="1606"/>
                    <a:pt x="1007" y="1616"/>
                    <a:pt x="1007" y="1628"/>
                  </a:cubicBezTo>
                  <a:cubicBezTo>
                    <a:pt x="1007" y="1786"/>
                    <a:pt x="1007" y="1786"/>
                    <a:pt x="1007" y="1786"/>
                  </a:cubicBezTo>
                  <a:cubicBezTo>
                    <a:pt x="1007" y="1798"/>
                    <a:pt x="1017" y="1808"/>
                    <a:pt x="1029" y="1808"/>
                  </a:cubicBezTo>
                  <a:cubicBezTo>
                    <a:pt x="1042" y="1808"/>
                    <a:pt x="1051" y="1798"/>
                    <a:pt x="1051" y="1786"/>
                  </a:cubicBezTo>
                  <a:close/>
                  <a:moveTo>
                    <a:pt x="1302" y="1786"/>
                  </a:moveTo>
                  <a:cubicBezTo>
                    <a:pt x="1302" y="1628"/>
                    <a:pt x="1302" y="1628"/>
                    <a:pt x="1302" y="1628"/>
                  </a:cubicBezTo>
                  <a:cubicBezTo>
                    <a:pt x="1302" y="1616"/>
                    <a:pt x="1292" y="1606"/>
                    <a:pt x="1280" y="1606"/>
                  </a:cubicBezTo>
                  <a:cubicBezTo>
                    <a:pt x="1268" y="1606"/>
                    <a:pt x="1258" y="1616"/>
                    <a:pt x="1258" y="1628"/>
                  </a:cubicBezTo>
                  <a:cubicBezTo>
                    <a:pt x="1258" y="1786"/>
                    <a:pt x="1258" y="1786"/>
                    <a:pt x="1258" y="1786"/>
                  </a:cubicBezTo>
                  <a:cubicBezTo>
                    <a:pt x="1258" y="1798"/>
                    <a:pt x="1268" y="1808"/>
                    <a:pt x="1280" y="1808"/>
                  </a:cubicBezTo>
                  <a:cubicBezTo>
                    <a:pt x="1292" y="1808"/>
                    <a:pt x="1302" y="1798"/>
                    <a:pt x="1302" y="1786"/>
                  </a:cubicBezTo>
                  <a:close/>
                  <a:moveTo>
                    <a:pt x="1808" y="528"/>
                  </a:moveTo>
                  <a:cubicBezTo>
                    <a:pt x="1808" y="516"/>
                    <a:pt x="1798" y="506"/>
                    <a:pt x="1786" y="506"/>
                  </a:cubicBezTo>
                  <a:cubicBezTo>
                    <a:pt x="1628" y="506"/>
                    <a:pt x="1628" y="506"/>
                    <a:pt x="1628" y="506"/>
                  </a:cubicBezTo>
                  <a:cubicBezTo>
                    <a:pt x="1616" y="506"/>
                    <a:pt x="1606" y="516"/>
                    <a:pt x="1606" y="528"/>
                  </a:cubicBezTo>
                  <a:cubicBezTo>
                    <a:pt x="1606" y="540"/>
                    <a:pt x="1616" y="550"/>
                    <a:pt x="1628" y="550"/>
                  </a:cubicBezTo>
                  <a:cubicBezTo>
                    <a:pt x="1786" y="550"/>
                    <a:pt x="1786" y="550"/>
                    <a:pt x="1786" y="550"/>
                  </a:cubicBezTo>
                  <a:cubicBezTo>
                    <a:pt x="1798" y="550"/>
                    <a:pt x="1808" y="540"/>
                    <a:pt x="1808" y="528"/>
                  </a:cubicBezTo>
                  <a:close/>
                  <a:moveTo>
                    <a:pt x="1808" y="779"/>
                  </a:moveTo>
                  <a:cubicBezTo>
                    <a:pt x="1808" y="766"/>
                    <a:pt x="1798" y="757"/>
                    <a:pt x="1786" y="757"/>
                  </a:cubicBezTo>
                  <a:cubicBezTo>
                    <a:pt x="1628" y="757"/>
                    <a:pt x="1628" y="757"/>
                    <a:pt x="1628" y="757"/>
                  </a:cubicBezTo>
                  <a:cubicBezTo>
                    <a:pt x="1616" y="757"/>
                    <a:pt x="1606" y="766"/>
                    <a:pt x="1606" y="779"/>
                  </a:cubicBezTo>
                  <a:cubicBezTo>
                    <a:pt x="1606" y="791"/>
                    <a:pt x="1616" y="801"/>
                    <a:pt x="1628" y="801"/>
                  </a:cubicBezTo>
                  <a:cubicBezTo>
                    <a:pt x="1786" y="801"/>
                    <a:pt x="1786" y="801"/>
                    <a:pt x="1786" y="801"/>
                  </a:cubicBezTo>
                  <a:cubicBezTo>
                    <a:pt x="1798" y="801"/>
                    <a:pt x="1808" y="791"/>
                    <a:pt x="1808" y="779"/>
                  </a:cubicBezTo>
                  <a:close/>
                  <a:moveTo>
                    <a:pt x="1808" y="1029"/>
                  </a:moveTo>
                  <a:cubicBezTo>
                    <a:pt x="1808" y="1017"/>
                    <a:pt x="1798" y="1007"/>
                    <a:pt x="1786" y="1007"/>
                  </a:cubicBezTo>
                  <a:cubicBezTo>
                    <a:pt x="1628" y="1007"/>
                    <a:pt x="1628" y="1007"/>
                    <a:pt x="1628" y="1007"/>
                  </a:cubicBezTo>
                  <a:cubicBezTo>
                    <a:pt x="1616" y="1007"/>
                    <a:pt x="1606" y="1017"/>
                    <a:pt x="1606" y="1029"/>
                  </a:cubicBezTo>
                  <a:cubicBezTo>
                    <a:pt x="1606" y="1042"/>
                    <a:pt x="1616" y="1051"/>
                    <a:pt x="1628" y="1051"/>
                  </a:cubicBezTo>
                  <a:cubicBezTo>
                    <a:pt x="1786" y="1051"/>
                    <a:pt x="1786" y="1051"/>
                    <a:pt x="1786" y="1051"/>
                  </a:cubicBezTo>
                  <a:cubicBezTo>
                    <a:pt x="1798" y="1051"/>
                    <a:pt x="1808" y="1042"/>
                    <a:pt x="1808" y="1029"/>
                  </a:cubicBezTo>
                  <a:close/>
                  <a:moveTo>
                    <a:pt x="1808" y="1280"/>
                  </a:moveTo>
                  <a:cubicBezTo>
                    <a:pt x="1808" y="1268"/>
                    <a:pt x="1798" y="1258"/>
                    <a:pt x="1786" y="1258"/>
                  </a:cubicBezTo>
                  <a:cubicBezTo>
                    <a:pt x="1628" y="1258"/>
                    <a:pt x="1628" y="1258"/>
                    <a:pt x="1628" y="1258"/>
                  </a:cubicBezTo>
                  <a:cubicBezTo>
                    <a:pt x="1616" y="1258"/>
                    <a:pt x="1606" y="1268"/>
                    <a:pt x="1606" y="1280"/>
                  </a:cubicBezTo>
                  <a:cubicBezTo>
                    <a:pt x="1606" y="1292"/>
                    <a:pt x="1616" y="1302"/>
                    <a:pt x="1628" y="1302"/>
                  </a:cubicBezTo>
                  <a:cubicBezTo>
                    <a:pt x="1786" y="1302"/>
                    <a:pt x="1786" y="1302"/>
                    <a:pt x="1786" y="1302"/>
                  </a:cubicBezTo>
                  <a:cubicBezTo>
                    <a:pt x="1798" y="1302"/>
                    <a:pt x="1808" y="1292"/>
                    <a:pt x="1808" y="1280"/>
                  </a:cubicBezTo>
                  <a:close/>
                  <a:moveTo>
                    <a:pt x="202" y="528"/>
                  </a:moveTo>
                  <a:cubicBezTo>
                    <a:pt x="202" y="516"/>
                    <a:pt x="192" y="506"/>
                    <a:pt x="180" y="506"/>
                  </a:cubicBezTo>
                  <a:cubicBezTo>
                    <a:pt x="22" y="506"/>
                    <a:pt x="22" y="506"/>
                    <a:pt x="22" y="506"/>
                  </a:cubicBezTo>
                  <a:cubicBezTo>
                    <a:pt x="10" y="506"/>
                    <a:pt x="0" y="516"/>
                    <a:pt x="0" y="528"/>
                  </a:cubicBezTo>
                  <a:cubicBezTo>
                    <a:pt x="0" y="540"/>
                    <a:pt x="10" y="550"/>
                    <a:pt x="22" y="550"/>
                  </a:cubicBezTo>
                  <a:cubicBezTo>
                    <a:pt x="180" y="550"/>
                    <a:pt x="180" y="550"/>
                    <a:pt x="180" y="550"/>
                  </a:cubicBezTo>
                  <a:cubicBezTo>
                    <a:pt x="192" y="550"/>
                    <a:pt x="202" y="540"/>
                    <a:pt x="202" y="528"/>
                  </a:cubicBezTo>
                  <a:close/>
                  <a:moveTo>
                    <a:pt x="202" y="779"/>
                  </a:moveTo>
                  <a:cubicBezTo>
                    <a:pt x="202" y="766"/>
                    <a:pt x="192" y="757"/>
                    <a:pt x="180" y="757"/>
                  </a:cubicBezTo>
                  <a:cubicBezTo>
                    <a:pt x="22" y="757"/>
                    <a:pt x="22" y="757"/>
                    <a:pt x="22" y="757"/>
                  </a:cubicBezTo>
                  <a:cubicBezTo>
                    <a:pt x="10" y="757"/>
                    <a:pt x="0" y="766"/>
                    <a:pt x="0" y="779"/>
                  </a:cubicBezTo>
                  <a:cubicBezTo>
                    <a:pt x="0" y="791"/>
                    <a:pt x="10" y="801"/>
                    <a:pt x="22" y="801"/>
                  </a:cubicBezTo>
                  <a:cubicBezTo>
                    <a:pt x="180" y="801"/>
                    <a:pt x="180" y="801"/>
                    <a:pt x="180" y="801"/>
                  </a:cubicBezTo>
                  <a:cubicBezTo>
                    <a:pt x="192" y="801"/>
                    <a:pt x="202" y="791"/>
                    <a:pt x="202" y="779"/>
                  </a:cubicBezTo>
                  <a:close/>
                  <a:moveTo>
                    <a:pt x="202" y="1029"/>
                  </a:moveTo>
                  <a:cubicBezTo>
                    <a:pt x="202" y="1017"/>
                    <a:pt x="192" y="1007"/>
                    <a:pt x="180" y="1007"/>
                  </a:cubicBezTo>
                  <a:cubicBezTo>
                    <a:pt x="22" y="1007"/>
                    <a:pt x="22" y="1007"/>
                    <a:pt x="22" y="1007"/>
                  </a:cubicBezTo>
                  <a:cubicBezTo>
                    <a:pt x="10" y="1007"/>
                    <a:pt x="0" y="1017"/>
                    <a:pt x="0" y="1029"/>
                  </a:cubicBezTo>
                  <a:cubicBezTo>
                    <a:pt x="0" y="1042"/>
                    <a:pt x="10" y="1051"/>
                    <a:pt x="22" y="1051"/>
                  </a:cubicBezTo>
                  <a:cubicBezTo>
                    <a:pt x="180" y="1051"/>
                    <a:pt x="180" y="1051"/>
                    <a:pt x="180" y="1051"/>
                  </a:cubicBezTo>
                  <a:cubicBezTo>
                    <a:pt x="192" y="1051"/>
                    <a:pt x="202" y="1042"/>
                    <a:pt x="202" y="1029"/>
                  </a:cubicBezTo>
                  <a:close/>
                  <a:moveTo>
                    <a:pt x="202" y="1280"/>
                  </a:moveTo>
                  <a:cubicBezTo>
                    <a:pt x="202" y="1268"/>
                    <a:pt x="192" y="1258"/>
                    <a:pt x="180" y="1258"/>
                  </a:cubicBezTo>
                  <a:cubicBezTo>
                    <a:pt x="22" y="1258"/>
                    <a:pt x="22" y="1258"/>
                    <a:pt x="22" y="1258"/>
                  </a:cubicBezTo>
                  <a:cubicBezTo>
                    <a:pt x="10" y="1258"/>
                    <a:pt x="0" y="1268"/>
                    <a:pt x="0" y="1280"/>
                  </a:cubicBezTo>
                  <a:cubicBezTo>
                    <a:pt x="0" y="1292"/>
                    <a:pt x="10" y="1302"/>
                    <a:pt x="22" y="1302"/>
                  </a:cubicBezTo>
                  <a:cubicBezTo>
                    <a:pt x="180" y="1302"/>
                    <a:pt x="180" y="1302"/>
                    <a:pt x="180" y="1302"/>
                  </a:cubicBezTo>
                  <a:cubicBezTo>
                    <a:pt x="192" y="1302"/>
                    <a:pt x="202" y="1292"/>
                    <a:pt x="202" y="128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AF243AA0-64EE-3D7B-5BCD-FF5A4D0438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06146" y="5075916"/>
              <a:ext cx="214089" cy="214305"/>
            </a:xfrm>
            <a:custGeom>
              <a:avLst/>
              <a:gdLst>
                <a:gd name="T0" fmla="*/ 1048 w 1058"/>
                <a:gd name="T1" fmla="*/ 0 h 1058"/>
                <a:gd name="T2" fmla="*/ 10 w 1058"/>
                <a:gd name="T3" fmla="*/ 0 h 1058"/>
                <a:gd name="T4" fmla="*/ 0 w 1058"/>
                <a:gd name="T5" fmla="*/ 10 h 1058"/>
                <a:gd name="T6" fmla="*/ 0 w 1058"/>
                <a:gd name="T7" fmla="*/ 1048 h 1058"/>
                <a:gd name="T8" fmla="*/ 10 w 1058"/>
                <a:gd name="T9" fmla="*/ 1058 h 1058"/>
                <a:gd name="T10" fmla="*/ 1048 w 1058"/>
                <a:gd name="T11" fmla="*/ 1058 h 1058"/>
                <a:gd name="T12" fmla="*/ 1058 w 1058"/>
                <a:gd name="T13" fmla="*/ 1048 h 1058"/>
                <a:gd name="T14" fmla="*/ 1058 w 1058"/>
                <a:gd name="T15" fmla="*/ 10 h 1058"/>
                <a:gd name="T16" fmla="*/ 1048 w 1058"/>
                <a:gd name="T17" fmla="*/ 0 h 1058"/>
                <a:gd name="T18" fmla="*/ 819 w 1058"/>
                <a:gd name="T19" fmla="*/ 809 h 1058"/>
                <a:gd name="T20" fmla="*/ 809 w 1058"/>
                <a:gd name="T21" fmla="*/ 819 h 1058"/>
                <a:gd name="T22" fmla="*/ 249 w 1058"/>
                <a:gd name="T23" fmla="*/ 819 h 1058"/>
                <a:gd name="T24" fmla="*/ 239 w 1058"/>
                <a:gd name="T25" fmla="*/ 809 h 1058"/>
                <a:gd name="T26" fmla="*/ 239 w 1058"/>
                <a:gd name="T27" fmla="*/ 249 h 1058"/>
                <a:gd name="T28" fmla="*/ 249 w 1058"/>
                <a:gd name="T29" fmla="*/ 239 h 1058"/>
                <a:gd name="T30" fmla="*/ 809 w 1058"/>
                <a:gd name="T31" fmla="*/ 239 h 1058"/>
                <a:gd name="T32" fmla="*/ 819 w 1058"/>
                <a:gd name="T33" fmla="*/ 249 h 1058"/>
                <a:gd name="T34" fmla="*/ 819 w 1058"/>
                <a:gd name="T35" fmla="*/ 809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8" h="1058">
                  <a:moveTo>
                    <a:pt x="1048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048"/>
                    <a:pt x="0" y="1048"/>
                    <a:pt x="0" y="1048"/>
                  </a:cubicBezTo>
                  <a:cubicBezTo>
                    <a:pt x="0" y="1054"/>
                    <a:pt x="4" y="1058"/>
                    <a:pt x="10" y="1058"/>
                  </a:cubicBezTo>
                  <a:cubicBezTo>
                    <a:pt x="1048" y="1058"/>
                    <a:pt x="1048" y="1058"/>
                    <a:pt x="1048" y="1058"/>
                  </a:cubicBezTo>
                  <a:cubicBezTo>
                    <a:pt x="1054" y="1058"/>
                    <a:pt x="1058" y="1054"/>
                    <a:pt x="1058" y="1048"/>
                  </a:cubicBezTo>
                  <a:cubicBezTo>
                    <a:pt x="1058" y="10"/>
                    <a:pt x="1058" y="10"/>
                    <a:pt x="1058" y="10"/>
                  </a:cubicBezTo>
                  <a:cubicBezTo>
                    <a:pt x="1058" y="4"/>
                    <a:pt x="1054" y="0"/>
                    <a:pt x="1048" y="0"/>
                  </a:cubicBezTo>
                  <a:close/>
                  <a:moveTo>
                    <a:pt x="819" y="809"/>
                  </a:moveTo>
                  <a:cubicBezTo>
                    <a:pt x="819" y="814"/>
                    <a:pt x="814" y="819"/>
                    <a:pt x="809" y="819"/>
                  </a:cubicBezTo>
                  <a:cubicBezTo>
                    <a:pt x="249" y="819"/>
                    <a:pt x="249" y="819"/>
                    <a:pt x="249" y="819"/>
                  </a:cubicBezTo>
                  <a:cubicBezTo>
                    <a:pt x="244" y="819"/>
                    <a:pt x="239" y="814"/>
                    <a:pt x="239" y="809"/>
                  </a:cubicBezTo>
                  <a:cubicBezTo>
                    <a:pt x="239" y="249"/>
                    <a:pt x="239" y="249"/>
                    <a:pt x="239" y="249"/>
                  </a:cubicBezTo>
                  <a:cubicBezTo>
                    <a:pt x="239" y="244"/>
                    <a:pt x="244" y="239"/>
                    <a:pt x="249" y="239"/>
                  </a:cubicBezTo>
                  <a:cubicBezTo>
                    <a:pt x="809" y="239"/>
                    <a:pt x="809" y="239"/>
                    <a:pt x="809" y="239"/>
                  </a:cubicBezTo>
                  <a:cubicBezTo>
                    <a:pt x="814" y="239"/>
                    <a:pt x="819" y="244"/>
                    <a:pt x="819" y="249"/>
                  </a:cubicBezTo>
                  <a:lnTo>
                    <a:pt x="819" y="80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66874DB7-4476-31E6-00AD-E62AE6EAEFE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>
                <a:latin typeface="Arial"/>
                <a:cs typeface="Arial"/>
              </a:rPr>
              <a:t>processing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︎︎ </a:t>
            </a:r>
            <a:r>
              <a:rPr lang="de-DE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de-DE" b="1">
                <a:latin typeface="Arial"/>
                <a:cs typeface="Arial"/>
              </a:rPr>
              <a:t>Challenges</a:t>
            </a:r>
            <a:r>
              <a:rPr lang="de-DE">
                <a:latin typeface="Arial"/>
                <a:cs typeface="Arial"/>
              </a:rPr>
              <a:t>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682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US"/>
              <a:t>Challenges we are facing as individuals</a:t>
            </a:r>
            <a:endParaRPr lang="en-US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feld 12">
            <a:extLst>
              <a:ext uri="{FF2B5EF4-FFF2-40B4-BE49-F238E27FC236}">
                <a16:creationId xmlns:a16="http://schemas.microsoft.com/office/drawing/2014/main" id="{245B9851-60A9-1697-9CD7-FC489D5780E1}"/>
              </a:ext>
            </a:extLst>
          </p:cNvPr>
          <p:cNvSpPr txBox="1"/>
          <p:nvPr/>
        </p:nvSpPr>
        <p:spPr>
          <a:xfrm>
            <a:off x="1333907" y="1317009"/>
            <a:ext cx="7103303" cy="5034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GB" sz="1600" b="1">
                <a:latin typeface="+mn-lt"/>
                <a:cs typeface="Arial"/>
              </a:rPr>
              <a:t>Grasping the big picture</a:t>
            </a:r>
          </a:p>
          <a:p>
            <a:pPr>
              <a:lnSpc>
                <a:spcPct val="113999"/>
              </a:lnSpc>
            </a:pPr>
            <a:r>
              <a:rPr lang="en-GB" sz="1600">
                <a:latin typeface="Arial"/>
                <a:cs typeface="Arial"/>
              </a:rPr>
              <a:t>Understanding the whole machine learning pipeline</a:t>
            </a:r>
            <a:endParaRPr lang="en-GB" sz="1600"/>
          </a:p>
        </p:txBody>
      </p:sp>
      <p:sp>
        <p:nvSpPr>
          <p:cNvPr id="29" name="Textfeld 12">
            <a:extLst>
              <a:ext uri="{FF2B5EF4-FFF2-40B4-BE49-F238E27FC236}">
                <a16:creationId xmlns:a16="http://schemas.microsoft.com/office/drawing/2014/main" id="{A3373B99-1935-301F-03CB-CCF038F8DE92}"/>
              </a:ext>
            </a:extLst>
          </p:cNvPr>
          <p:cNvSpPr txBox="1"/>
          <p:nvPr/>
        </p:nvSpPr>
        <p:spPr>
          <a:xfrm>
            <a:off x="1333907" y="2415621"/>
            <a:ext cx="7103303" cy="5034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AU" sz="1600" b="1">
                <a:latin typeface="+mn-lt"/>
                <a:cs typeface="Arial"/>
              </a:rPr>
              <a:t>Priorities</a:t>
            </a:r>
            <a:endParaRPr lang="en-AU"/>
          </a:p>
          <a:p>
            <a:pPr>
              <a:lnSpc>
                <a:spcPct val="113999"/>
              </a:lnSpc>
            </a:pPr>
            <a:r>
              <a:rPr lang="en-AU" sz="1600">
                <a:latin typeface="Arial"/>
                <a:cs typeface="Arial"/>
              </a:rPr>
              <a:t>Distinguishing which approaches and methods are best for our specific dataset</a:t>
            </a:r>
            <a:endParaRPr lang="en-AU"/>
          </a:p>
        </p:txBody>
      </p:sp>
      <p:sp>
        <p:nvSpPr>
          <p:cNvPr id="30" name="Textfeld 12">
            <a:extLst>
              <a:ext uri="{FF2B5EF4-FFF2-40B4-BE49-F238E27FC236}">
                <a16:creationId xmlns:a16="http://schemas.microsoft.com/office/drawing/2014/main" id="{F431674C-4507-7264-1FA5-B4B8582209BA}"/>
              </a:ext>
            </a:extLst>
          </p:cNvPr>
          <p:cNvSpPr txBox="1"/>
          <p:nvPr/>
        </p:nvSpPr>
        <p:spPr>
          <a:xfrm>
            <a:off x="1333907" y="3514233"/>
            <a:ext cx="7103303" cy="5034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GB" sz="1600" b="1">
                <a:latin typeface="+mn-lt"/>
                <a:cs typeface="Arial"/>
              </a:rPr>
              <a:t>Co-Coding sessions</a:t>
            </a:r>
            <a:endParaRPr lang="de-DE"/>
          </a:p>
          <a:p>
            <a:pPr>
              <a:lnSpc>
                <a:spcPct val="113999"/>
              </a:lnSpc>
            </a:pPr>
            <a:r>
              <a:rPr lang="en-GB" sz="1600">
                <a:latin typeface="Arial"/>
                <a:cs typeface="Arial"/>
              </a:rPr>
              <a:t>Organize regular timeslots where everyone is available</a:t>
            </a:r>
            <a:endParaRPr lang="en-GB"/>
          </a:p>
        </p:txBody>
      </p:sp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id="{409426C2-0CA0-ADB6-35A4-788D6CE60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>
                <a:latin typeface="Arial"/>
                <a:cs typeface="Arial"/>
              </a:rPr>
              <a:t>processing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︎︎ </a:t>
            </a:r>
            <a:r>
              <a:rPr lang="de-DE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de-DE" b="1">
                <a:latin typeface="Arial"/>
                <a:cs typeface="Arial"/>
              </a:rPr>
              <a:t>Challenges</a:t>
            </a:r>
            <a:r>
              <a:rPr lang="de-DE">
                <a:latin typeface="Arial"/>
                <a:cs typeface="Arial"/>
              </a:rPr>
              <a:t>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  <p:grpSp>
        <p:nvGrpSpPr>
          <p:cNvPr id="32" name="bcgIcons_Target">
            <a:extLst>
              <a:ext uri="{FF2B5EF4-FFF2-40B4-BE49-F238E27FC236}">
                <a16:creationId xmlns:a16="http://schemas.microsoft.com/office/drawing/2014/main" id="{541DCF82-E459-FF68-F788-597AA24D06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5056" y="2307356"/>
            <a:ext cx="719333" cy="720000"/>
            <a:chOff x="1682" y="0"/>
            <a:chExt cx="4316" cy="4320"/>
          </a:xfrm>
        </p:grpSpPr>
        <p:sp>
          <p:nvSpPr>
            <p:cNvPr id="33" name="AutoShape 23">
              <a:extLst>
                <a:ext uri="{FF2B5EF4-FFF2-40B4-BE49-F238E27FC236}">
                  <a16:creationId xmlns:a16="http://schemas.microsoft.com/office/drawing/2014/main" id="{F506105B-B014-3B2A-6AEF-59E4C8F7AAA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1C2CA2CE-0EE9-D479-5FED-A0C9495D32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838"/>
              <a:ext cx="1832" cy="1367"/>
            </a:xfrm>
            <a:custGeom>
              <a:avLst/>
              <a:gdLst>
                <a:gd name="T0" fmla="*/ 25 w 978"/>
                <a:gd name="T1" fmla="*/ 729 h 729"/>
                <a:gd name="T2" fmla="*/ 7 w 978"/>
                <a:gd name="T3" fmla="*/ 719 h 729"/>
                <a:gd name="T4" fmla="*/ 13 w 978"/>
                <a:gd name="T5" fmla="*/ 689 h 729"/>
                <a:gd name="T6" fmla="*/ 888 w 978"/>
                <a:gd name="T7" fmla="*/ 86 h 729"/>
                <a:gd name="T8" fmla="*/ 919 w 978"/>
                <a:gd name="T9" fmla="*/ 91 h 729"/>
                <a:gd name="T10" fmla="*/ 913 w 978"/>
                <a:gd name="T11" fmla="*/ 122 h 729"/>
                <a:gd name="T12" fmla="*/ 38 w 978"/>
                <a:gd name="T13" fmla="*/ 725 h 729"/>
                <a:gd name="T14" fmla="*/ 25 w 978"/>
                <a:gd name="T15" fmla="*/ 729 h 729"/>
                <a:gd name="T16" fmla="*/ 578 w 978"/>
                <a:gd name="T17" fmla="*/ 254 h 729"/>
                <a:gd name="T18" fmla="*/ 586 w 978"/>
                <a:gd name="T19" fmla="*/ 258 h 729"/>
                <a:gd name="T20" fmla="*/ 825 w 978"/>
                <a:gd name="T21" fmla="*/ 93 h 729"/>
                <a:gd name="T22" fmla="*/ 826 w 978"/>
                <a:gd name="T23" fmla="*/ 91 h 729"/>
                <a:gd name="T24" fmla="*/ 849 w 978"/>
                <a:gd name="T25" fmla="*/ 8 h 729"/>
                <a:gd name="T26" fmla="*/ 841 w 978"/>
                <a:gd name="T27" fmla="*/ 3 h 729"/>
                <a:gd name="T28" fmla="*/ 602 w 978"/>
                <a:gd name="T29" fmla="*/ 166 h 729"/>
                <a:gd name="T30" fmla="*/ 599 w 978"/>
                <a:gd name="T31" fmla="*/ 171 h 729"/>
                <a:gd name="T32" fmla="*/ 578 w 978"/>
                <a:gd name="T33" fmla="*/ 254 h 729"/>
                <a:gd name="T34" fmla="*/ 646 w 978"/>
                <a:gd name="T35" fmla="*/ 352 h 729"/>
                <a:gd name="T36" fmla="*/ 730 w 978"/>
                <a:gd name="T37" fmla="*/ 362 h 729"/>
                <a:gd name="T38" fmla="*/ 736 w 978"/>
                <a:gd name="T39" fmla="*/ 361 h 729"/>
                <a:gd name="T40" fmla="*/ 974 w 978"/>
                <a:gd name="T41" fmla="*/ 196 h 729"/>
                <a:gd name="T42" fmla="*/ 972 w 978"/>
                <a:gd name="T43" fmla="*/ 187 h 729"/>
                <a:gd name="T44" fmla="*/ 886 w 978"/>
                <a:gd name="T45" fmla="*/ 179 h 729"/>
                <a:gd name="T46" fmla="*/ 884 w 978"/>
                <a:gd name="T47" fmla="*/ 179 h 729"/>
                <a:gd name="T48" fmla="*/ 644 w 978"/>
                <a:gd name="T49" fmla="*/ 343 h 729"/>
                <a:gd name="T50" fmla="*/ 646 w 978"/>
                <a:gd name="T51" fmla="*/ 35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78" h="729">
                  <a:moveTo>
                    <a:pt x="25" y="729"/>
                  </a:moveTo>
                  <a:cubicBezTo>
                    <a:pt x="18" y="729"/>
                    <a:pt x="11" y="726"/>
                    <a:pt x="7" y="719"/>
                  </a:cubicBezTo>
                  <a:cubicBezTo>
                    <a:pt x="0" y="709"/>
                    <a:pt x="3" y="696"/>
                    <a:pt x="13" y="689"/>
                  </a:cubicBezTo>
                  <a:cubicBezTo>
                    <a:pt x="888" y="86"/>
                    <a:pt x="888" y="86"/>
                    <a:pt x="888" y="86"/>
                  </a:cubicBezTo>
                  <a:cubicBezTo>
                    <a:pt x="898" y="79"/>
                    <a:pt x="912" y="81"/>
                    <a:pt x="919" y="91"/>
                  </a:cubicBezTo>
                  <a:cubicBezTo>
                    <a:pt x="926" y="101"/>
                    <a:pt x="923" y="115"/>
                    <a:pt x="913" y="122"/>
                  </a:cubicBezTo>
                  <a:cubicBezTo>
                    <a:pt x="38" y="725"/>
                    <a:pt x="38" y="725"/>
                    <a:pt x="38" y="725"/>
                  </a:cubicBezTo>
                  <a:cubicBezTo>
                    <a:pt x="34" y="728"/>
                    <a:pt x="30" y="729"/>
                    <a:pt x="25" y="729"/>
                  </a:cubicBezTo>
                  <a:close/>
                  <a:moveTo>
                    <a:pt x="578" y="254"/>
                  </a:moveTo>
                  <a:cubicBezTo>
                    <a:pt x="577" y="258"/>
                    <a:pt x="582" y="259"/>
                    <a:pt x="586" y="258"/>
                  </a:cubicBezTo>
                  <a:cubicBezTo>
                    <a:pt x="586" y="258"/>
                    <a:pt x="586" y="258"/>
                    <a:pt x="825" y="93"/>
                  </a:cubicBezTo>
                  <a:cubicBezTo>
                    <a:pt x="826" y="93"/>
                    <a:pt x="826" y="93"/>
                    <a:pt x="826" y="91"/>
                  </a:cubicBezTo>
                  <a:cubicBezTo>
                    <a:pt x="826" y="91"/>
                    <a:pt x="826" y="91"/>
                    <a:pt x="849" y="8"/>
                  </a:cubicBezTo>
                  <a:cubicBezTo>
                    <a:pt x="850" y="3"/>
                    <a:pt x="845" y="0"/>
                    <a:pt x="841" y="3"/>
                  </a:cubicBezTo>
                  <a:cubicBezTo>
                    <a:pt x="841" y="3"/>
                    <a:pt x="841" y="3"/>
                    <a:pt x="602" y="166"/>
                  </a:cubicBezTo>
                  <a:cubicBezTo>
                    <a:pt x="601" y="168"/>
                    <a:pt x="601" y="168"/>
                    <a:pt x="599" y="171"/>
                  </a:cubicBezTo>
                  <a:cubicBezTo>
                    <a:pt x="599" y="171"/>
                    <a:pt x="599" y="171"/>
                    <a:pt x="578" y="254"/>
                  </a:cubicBezTo>
                  <a:close/>
                  <a:moveTo>
                    <a:pt x="646" y="352"/>
                  </a:moveTo>
                  <a:cubicBezTo>
                    <a:pt x="730" y="362"/>
                    <a:pt x="730" y="362"/>
                    <a:pt x="730" y="362"/>
                  </a:cubicBezTo>
                  <a:cubicBezTo>
                    <a:pt x="734" y="361"/>
                    <a:pt x="734" y="361"/>
                    <a:pt x="736" y="361"/>
                  </a:cubicBezTo>
                  <a:cubicBezTo>
                    <a:pt x="974" y="196"/>
                    <a:pt x="974" y="196"/>
                    <a:pt x="974" y="196"/>
                  </a:cubicBezTo>
                  <a:cubicBezTo>
                    <a:pt x="978" y="194"/>
                    <a:pt x="978" y="187"/>
                    <a:pt x="972" y="187"/>
                  </a:cubicBezTo>
                  <a:cubicBezTo>
                    <a:pt x="886" y="179"/>
                    <a:pt x="886" y="179"/>
                    <a:pt x="886" y="179"/>
                  </a:cubicBezTo>
                  <a:cubicBezTo>
                    <a:pt x="884" y="177"/>
                    <a:pt x="884" y="177"/>
                    <a:pt x="884" y="179"/>
                  </a:cubicBezTo>
                  <a:cubicBezTo>
                    <a:pt x="644" y="343"/>
                    <a:pt x="644" y="343"/>
                    <a:pt x="644" y="343"/>
                  </a:cubicBezTo>
                  <a:cubicBezTo>
                    <a:pt x="642" y="347"/>
                    <a:pt x="642" y="351"/>
                    <a:pt x="646" y="3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0CDDE146-2154-4A2F-4B0E-83C2C302ED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" y="756"/>
              <a:ext cx="2814" cy="2816"/>
            </a:xfrm>
            <a:custGeom>
              <a:avLst/>
              <a:gdLst>
                <a:gd name="T0" fmla="*/ 1016 w 1502"/>
                <a:gd name="T1" fmla="*/ 662 h 1502"/>
                <a:gd name="T2" fmla="*/ 1030 w 1502"/>
                <a:gd name="T3" fmla="*/ 751 h 1502"/>
                <a:gd name="T4" fmla="*/ 751 w 1502"/>
                <a:gd name="T5" fmla="*/ 1030 h 1502"/>
                <a:gd name="T6" fmla="*/ 472 w 1502"/>
                <a:gd name="T7" fmla="*/ 751 h 1502"/>
                <a:gd name="T8" fmla="*/ 751 w 1502"/>
                <a:gd name="T9" fmla="*/ 472 h 1502"/>
                <a:gd name="T10" fmla="*/ 929 w 1502"/>
                <a:gd name="T11" fmla="*/ 536 h 1502"/>
                <a:gd name="T12" fmla="*/ 819 w 1502"/>
                <a:gd name="T13" fmla="*/ 611 h 1502"/>
                <a:gd name="T14" fmla="*/ 751 w 1502"/>
                <a:gd name="T15" fmla="*/ 596 h 1502"/>
                <a:gd name="T16" fmla="*/ 596 w 1502"/>
                <a:gd name="T17" fmla="*/ 751 h 1502"/>
                <a:gd name="T18" fmla="*/ 751 w 1502"/>
                <a:gd name="T19" fmla="*/ 906 h 1502"/>
                <a:gd name="T20" fmla="*/ 906 w 1502"/>
                <a:gd name="T21" fmla="*/ 751 h 1502"/>
                <a:gd name="T22" fmla="*/ 906 w 1502"/>
                <a:gd name="T23" fmla="*/ 738 h 1502"/>
                <a:gd name="T24" fmla="*/ 1016 w 1502"/>
                <a:gd name="T25" fmla="*/ 662 h 1502"/>
                <a:gd name="T26" fmla="*/ 1107 w 1502"/>
                <a:gd name="T27" fmla="*/ 599 h 1502"/>
                <a:gd name="T28" fmla="*/ 1138 w 1502"/>
                <a:gd name="T29" fmla="*/ 751 h 1502"/>
                <a:gd name="T30" fmla="*/ 751 w 1502"/>
                <a:gd name="T31" fmla="*/ 1138 h 1502"/>
                <a:gd name="T32" fmla="*/ 364 w 1502"/>
                <a:gd name="T33" fmla="*/ 751 h 1502"/>
                <a:gd name="T34" fmla="*/ 751 w 1502"/>
                <a:gd name="T35" fmla="*/ 364 h 1502"/>
                <a:gd name="T36" fmla="*/ 1020 w 1502"/>
                <a:gd name="T37" fmla="*/ 473 h 1502"/>
                <a:gd name="T38" fmla="*/ 1124 w 1502"/>
                <a:gd name="T39" fmla="*/ 401 h 1502"/>
                <a:gd name="T40" fmla="*/ 751 w 1502"/>
                <a:gd name="T41" fmla="*/ 240 h 1502"/>
                <a:gd name="T42" fmla="*/ 240 w 1502"/>
                <a:gd name="T43" fmla="*/ 751 h 1502"/>
                <a:gd name="T44" fmla="*/ 751 w 1502"/>
                <a:gd name="T45" fmla="*/ 1262 h 1502"/>
                <a:gd name="T46" fmla="*/ 1262 w 1502"/>
                <a:gd name="T47" fmla="*/ 751 h 1502"/>
                <a:gd name="T48" fmla="*/ 1211 w 1502"/>
                <a:gd name="T49" fmla="*/ 528 h 1502"/>
                <a:gd name="T50" fmla="*/ 1107 w 1502"/>
                <a:gd name="T51" fmla="*/ 599 h 1502"/>
                <a:gd name="T52" fmla="*/ 1333 w 1502"/>
                <a:gd name="T53" fmla="*/ 443 h 1502"/>
                <a:gd name="T54" fmla="*/ 1307 w 1502"/>
                <a:gd name="T55" fmla="*/ 461 h 1502"/>
                <a:gd name="T56" fmla="*/ 1378 w 1502"/>
                <a:gd name="T57" fmla="*/ 751 h 1502"/>
                <a:gd name="T58" fmla="*/ 751 w 1502"/>
                <a:gd name="T59" fmla="*/ 1378 h 1502"/>
                <a:gd name="T60" fmla="*/ 124 w 1502"/>
                <a:gd name="T61" fmla="*/ 751 h 1502"/>
                <a:gd name="T62" fmla="*/ 751 w 1502"/>
                <a:gd name="T63" fmla="*/ 124 h 1502"/>
                <a:gd name="T64" fmla="*/ 1220 w 1502"/>
                <a:gd name="T65" fmla="*/ 335 h 1502"/>
                <a:gd name="T66" fmla="*/ 1246 w 1502"/>
                <a:gd name="T67" fmla="*/ 317 h 1502"/>
                <a:gd name="T68" fmla="*/ 1273 w 1502"/>
                <a:gd name="T69" fmla="*/ 211 h 1502"/>
                <a:gd name="T70" fmla="*/ 751 w 1502"/>
                <a:gd name="T71" fmla="*/ 0 h 1502"/>
                <a:gd name="T72" fmla="*/ 0 w 1502"/>
                <a:gd name="T73" fmla="*/ 751 h 1502"/>
                <a:gd name="T74" fmla="*/ 751 w 1502"/>
                <a:gd name="T75" fmla="*/ 1502 h 1502"/>
                <a:gd name="T76" fmla="*/ 1502 w 1502"/>
                <a:gd name="T77" fmla="*/ 751 h 1502"/>
                <a:gd name="T78" fmla="*/ 1442 w 1502"/>
                <a:gd name="T79" fmla="*/ 456 h 1502"/>
                <a:gd name="T80" fmla="*/ 1333 w 1502"/>
                <a:gd name="T81" fmla="*/ 443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2" h="1502">
                  <a:moveTo>
                    <a:pt x="1016" y="662"/>
                  </a:moveTo>
                  <a:cubicBezTo>
                    <a:pt x="1025" y="690"/>
                    <a:pt x="1030" y="720"/>
                    <a:pt x="1030" y="751"/>
                  </a:cubicBezTo>
                  <a:cubicBezTo>
                    <a:pt x="1030" y="905"/>
                    <a:pt x="905" y="1030"/>
                    <a:pt x="751" y="1030"/>
                  </a:cubicBezTo>
                  <a:cubicBezTo>
                    <a:pt x="597" y="1030"/>
                    <a:pt x="472" y="905"/>
                    <a:pt x="472" y="751"/>
                  </a:cubicBezTo>
                  <a:cubicBezTo>
                    <a:pt x="472" y="597"/>
                    <a:pt x="597" y="472"/>
                    <a:pt x="751" y="472"/>
                  </a:cubicBezTo>
                  <a:cubicBezTo>
                    <a:pt x="818" y="472"/>
                    <a:pt x="880" y="496"/>
                    <a:pt x="929" y="536"/>
                  </a:cubicBezTo>
                  <a:cubicBezTo>
                    <a:pt x="819" y="611"/>
                    <a:pt x="819" y="611"/>
                    <a:pt x="819" y="611"/>
                  </a:cubicBezTo>
                  <a:cubicBezTo>
                    <a:pt x="798" y="601"/>
                    <a:pt x="775" y="596"/>
                    <a:pt x="751" y="596"/>
                  </a:cubicBezTo>
                  <a:cubicBezTo>
                    <a:pt x="665" y="596"/>
                    <a:pt x="596" y="665"/>
                    <a:pt x="596" y="751"/>
                  </a:cubicBezTo>
                  <a:cubicBezTo>
                    <a:pt x="596" y="836"/>
                    <a:pt x="665" y="906"/>
                    <a:pt x="751" y="906"/>
                  </a:cubicBezTo>
                  <a:cubicBezTo>
                    <a:pt x="837" y="906"/>
                    <a:pt x="906" y="836"/>
                    <a:pt x="906" y="751"/>
                  </a:cubicBezTo>
                  <a:cubicBezTo>
                    <a:pt x="906" y="746"/>
                    <a:pt x="906" y="742"/>
                    <a:pt x="906" y="738"/>
                  </a:cubicBezTo>
                  <a:lnTo>
                    <a:pt x="1016" y="662"/>
                  </a:lnTo>
                  <a:close/>
                  <a:moveTo>
                    <a:pt x="1107" y="599"/>
                  </a:moveTo>
                  <a:cubicBezTo>
                    <a:pt x="1127" y="646"/>
                    <a:pt x="1138" y="697"/>
                    <a:pt x="1138" y="751"/>
                  </a:cubicBezTo>
                  <a:cubicBezTo>
                    <a:pt x="1138" y="964"/>
                    <a:pt x="964" y="1138"/>
                    <a:pt x="751" y="1138"/>
                  </a:cubicBezTo>
                  <a:cubicBezTo>
                    <a:pt x="537" y="1138"/>
                    <a:pt x="364" y="964"/>
                    <a:pt x="364" y="751"/>
                  </a:cubicBezTo>
                  <a:cubicBezTo>
                    <a:pt x="364" y="537"/>
                    <a:pt x="537" y="364"/>
                    <a:pt x="751" y="364"/>
                  </a:cubicBezTo>
                  <a:cubicBezTo>
                    <a:pt x="855" y="364"/>
                    <a:pt x="950" y="405"/>
                    <a:pt x="1020" y="473"/>
                  </a:cubicBezTo>
                  <a:cubicBezTo>
                    <a:pt x="1124" y="401"/>
                    <a:pt x="1124" y="401"/>
                    <a:pt x="1124" y="401"/>
                  </a:cubicBezTo>
                  <a:cubicBezTo>
                    <a:pt x="1030" y="302"/>
                    <a:pt x="898" y="240"/>
                    <a:pt x="751" y="240"/>
                  </a:cubicBezTo>
                  <a:cubicBezTo>
                    <a:pt x="469" y="240"/>
                    <a:pt x="240" y="469"/>
                    <a:pt x="240" y="751"/>
                  </a:cubicBezTo>
                  <a:cubicBezTo>
                    <a:pt x="240" y="1033"/>
                    <a:pt x="469" y="1262"/>
                    <a:pt x="751" y="1262"/>
                  </a:cubicBezTo>
                  <a:cubicBezTo>
                    <a:pt x="1033" y="1262"/>
                    <a:pt x="1262" y="1033"/>
                    <a:pt x="1262" y="751"/>
                  </a:cubicBezTo>
                  <a:cubicBezTo>
                    <a:pt x="1262" y="671"/>
                    <a:pt x="1244" y="595"/>
                    <a:pt x="1211" y="528"/>
                  </a:cubicBezTo>
                  <a:lnTo>
                    <a:pt x="1107" y="599"/>
                  </a:lnTo>
                  <a:close/>
                  <a:moveTo>
                    <a:pt x="1333" y="443"/>
                  </a:moveTo>
                  <a:cubicBezTo>
                    <a:pt x="1307" y="461"/>
                    <a:pt x="1307" y="461"/>
                    <a:pt x="1307" y="461"/>
                  </a:cubicBezTo>
                  <a:cubicBezTo>
                    <a:pt x="1352" y="548"/>
                    <a:pt x="1378" y="646"/>
                    <a:pt x="1378" y="751"/>
                  </a:cubicBezTo>
                  <a:cubicBezTo>
                    <a:pt x="1378" y="1097"/>
                    <a:pt x="1097" y="1378"/>
                    <a:pt x="751" y="1378"/>
                  </a:cubicBezTo>
                  <a:cubicBezTo>
                    <a:pt x="405" y="1378"/>
                    <a:pt x="124" y="1097"/>
                    <a:pt x="124" y="751"/>
                  </a:cubicBezTo>
                  <a:cubicBezTo>
                    <a:pt x="124" y="405"/>
                    <a:pt x="405" y="124"/>
                    <a:pt x="751" y="124"/>
                  </a:cubicBezTo>
                  <a:cubicBezTo>
                    <a:pt x="937" y="124"/>
                    <a:pt x="1105" y="205"/>
                    <a:pt x="1220" y="335"/>
                  </a:cubicBezTo>
                  <a:cubicBezTo>
                    <a:pt x="1246" y="317"/>
                    <a:pt x="1246" y="317"/>
                    <a:pt x="1246" y="317"/>
                  </a:cubicBezTo>
                  <a:cubicBezTo>
                    <a:pt x="1273" y="211"/>
                    <a:pt x="1273" y="211"/>
                    <a:pt x="1273" y="211"/>
                  </a:cubicBezTo>
                  <a:cubicBezTo>
                    <a:pt x="1138" y="80"/>
                    <a:pt x="954" y="0"/>
                    <a:pt x="751" y="0"/>
                  </a:cubicBezTo>
                  <a:cubicBezTo>
                    <a:pt x="337" y="0"/>
                    <a:pt x="0" y="337"/>
                    <a:pt x="0" y="751"/>
                  </a:cubicBezTo>
                  <a:cubicBezTo>
                    <a:pt x="0" y="1165"/>
                    <a:pt x="337" y="1502"/>
                    <a:pt x="751" y="1502"/>
                  </a:cubicBezTo>
                  <a:cubicBezTo>
                    <a:pt x="1165" y="1502"/>
                    <a:pt x="1502" y="1165"/>
                    <a:pt x="1502" y="751"/>
                  </a:cubicBezTo>
                  <a:cubicBezTo>
                    <a:pt x="1502" y="646"/>
                    <a:pt x="1480" y="547"/>
                    <a:pt x="1442" y="456"/>
                  </a:cubicBezTo>
                  <a:lnTo>
                    <a:pt x="1333" y="44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bcgIcons_InternetOfThingsAndSensors">
            <a:extLst>
              <a:ext uri="{FF2B5EF4-FFF2-40B4-BE49-F238E27FC236}">
                <a16:creationId xmlns:a16="http://schemas.microsoft.com/office/drawing/2014/main" id="{096A096D-F580-AACF-7D86-A5D9E22389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5781" y="1139405"/>
            <a:ext cx="857883" cy="858678"/>
            <a:chOff x="1682" y="0"/>
            <a:chExt cx="4316" cy="4320"/>
          </a:xfrm>
        </p:grpSpPr>
        <p:sp>
          <p:nvSpPr>
            <p:cNvPr id="37" name="AutoShape 34">
              <a:extLst>
                <a:ext uri="{FF2B5EF4-FFF2-40B4-BE49-F238E27FC236}">
                  <a16:creationId xmlns:a16="http://schemas.microsoft.com/office/drawing/2014/main" id="{22136B5C-D424-58B9-CF8E-0E31F939369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8" name="Freeform 36">
              <a:extLst>
                <a:ext uri="{FF2B5EF4-FFF2-40B4-BE49-F238E27FC236}">
                  <a16:creationId xmlns:a16="http://schemas.microsoft.com/office/drawing/2014/main" id="{2C7EBCA6-2157-E3BF-EA8F-34CFFDB67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7" y="632"/>
              <a:ext cx="3230" cy="3240"/>
            </a:xfrm>
            <a:custGeom>
              <a:avLst/>
              <a:gdLst>
                <a:gd name="T0" fmla="*/ 352 w 1724"/>
                <a:gd name="T1" fmla="*/ 578 h 1728"/>
                <a:gd name="T2" fmla="*/ 795 w 1724"/>
                <a:gd name="T3" fmla="*/ 356 h 1728"/>
                <a:gd name="T4" fmla="*/ 795 w 1724"/>
                <a:gd name="T5" fmla="*/ 400 h 1728"/>
                <a:gd name="T6" fmla="*/ 391 w 1724"/>
                <a:gd name="T7" fmla="*/ 601 h 1728"/>
                <a:gd name="T8" fmla="*/ 352 w 1724"/>
                <a:gd name="T9" fmla="*/ 578 h 1728"/>
                <a:gd name="T10" fmla="*/ 927 w 1724"/>
                <a:gd name="T11" fmla="*/ 400 h 1728"/>
                <a:gd name="T12" fmla="*/ 1331 w 1724"/>
                <a:gd name="T13" fmla="*/ 602 h 1728"/>
                <a:gd name="T14" fmla="*/ 1370 w 1724"/>
                <a:gd name="T15" fmla="*/ 579 h 1728"/>
                <a:gd name="T16" fmla="*/ 927 w 1724"/>
                <a:gd name="T17" fmla="*/ 356 h 1728"/>
                <a:gd name="T18" fmla="*/ 927 w 1724"/>
                <a:gd name="T19" fmla="*/ 400 h 1728"/>
                <a:gd name="T20" fmla="*/ 1412 w 1724"/>
                <a:gd name="T21" fmla="*/ 707 h 1728"/>
                <a:gd name="T22" fmla="*/ 1505 w 1724"/>
                <a:gd name="T23" fmla="*/ 1041 h 1728"/>
                <a:gd name="T24" fmla="*/ 861 w 1724"/>
                <a:gd name="T25" fmla="*/ 1684 h 1728"/>
                <a:gd name="T26" fmla="*/ 217 w 1724"/>
                <a:gd name="T27" fmla="*/ 1041 h 1728"/>
                <a:gd name="T28" fmla="*/ 310 w 1724"/>
                <a:gd name="T29" fmla="*/ 707 h 1728"/>
                <a:gd name="T30" fmla="*/ 273 w 1724"/>
                <a:gd name="T31" fmla="*/ 685 h 1728"/>
                <a:gd name="T32" fmla="*/ 173 w 1724"/>
                <a:gd name="T33" fmla="*/ 1041 h 1728"/>
                <a:gd name="T34" fmla="*/ 861 w 1724"/>
                <a:gd name="T35" fmla="*/ 1728 h 1728"/>
                <a:gd name="T36" fmla="*/ 1549 w 1724"/>
                <a:gd name="T37" fmla="*/ 1041 h 1728"/>
                <a:gd name="T38" fmla="*/ 1449 w 1724"/>
                <a:gd name="T39" fmla="*/ 685 h 1728"/>
                <a:gd name="T40" fmla="*/ 1412 w 1724"/>
                <a:gd name="T41" fmla="*/ 707 h 1728"/>
                <a:gd name="T42" fmla="*/ 687 w 1724"/>
                <a:gd name="T43" fmla="*/ 738 h 1728"/>
                <a:gd name="T44" fmla="*/ 617 w 1724"/>
                <a:gd name="T45" fmla="*/ 809 h 1728"/>
                <a:gd name="T46" fmla="*/ 687 w 1724"/>
                <a:gd name="T47" fmla="*/ 879 h 1728"/>
                <a:gd name="T48" fmla="*/ 757 w 1724"/>
                <a:gd name="T49" fmla="*/ 809 h 1728"/>
                <a:gd name="T50" fmla="*/ 687 w 1724"/>
                <a:gd name="T51" fmla="*/ 738 h 1728"/>
                <a:gd name="T52" fmla="*/ 1062 w 1724"/>
                <a:gd name="T53" fmla="*/ 970 h 1728"/>
                <a:gd name="T54" fmla="*/ 992 w 1724"/>
                <a:gd name="T55" fmla="*/ 1041 h 1728"/>
                <a:gd name="T56" fmla="*/ 1062 w 1724"/>
                <a:gd name="T57" fmla="*/ 1111 h 1728"/>
                <a:gd name="T58" fmla="*/ 1133 w 1724"/>
                <a:gd name="T59" fmla="*/ 1041 h 1728"/>
                <a:gd name="T60" fmla="*/ 1062 w 1724"/>
                <a:gd name="T61" fmla="*/ 970 h 1728"/>
                <a:gd name="T62" fmla="*/ 861 w 1724"/>
                <a:gd name="T63" fmla="*/ 198 h 1728"/>
                <a:gd name="T64" fmla="*/ 947 w 1724"/>
                <a:gd name="T65" fmla="*/ 149 h 1728"/>
                <a:gd name="T66" fmla="*/ 947 w 1724"/>
                <a:gd name="T67" fmla="*/ 49 h 1728"/>
                <a:gd name="T68" fmla="*/ 861 w 1724"/>
                <a:gd name="T69" fmla="*/ 0 h 1728"/>
                <a:gd name="T70" fmla="*/ 775 w 1724"/>
                <a:gd name="T71" fmla="*/ 49 h 1728"/>
                <a:gd name="T72" fmla="*/ 775 w 1724"/>
                <a:gd name="T73" fmla="*/ 149 h 1728"/>
                <a:gd name="T74" fmla="*/ 861 w 1724"/>
                <a:gd name="T75" fmla="*/ 198 h 1728"/>
                <a:gd name="T76" fmla="*/ 1638 w 1724"/>
                <a:gd name="T77" fmla="*/ 598 h 1728"/>
                <a:gd name="T78" fmla="*/ 1724 w 1724"/>
                <a:gd name="T79" fmla="*/ 549 h 1728"/>
                <a:gd name="T80" fmla="*/ 1724 w 1724"/>
                <a:gd name="T81" fmla="*/ 449 h 1728"/>
                <a:gd name="T82" fmla="*/ 1638 w 1724"/>
                <a:gd name="T83" fmla="*/ 400 h 1728"/>
                <a:gd name="T84" fmla="*/ 1552 w 1724"/>
                <a:gd name="T85" fmla="*/ 449 h 1728"/>
                <a:gd name="T86" fmla="*/ 1552 w 1724"/>
                <a:gd name="T87" fmla="*/ 549 h 1728"/>
                <a:gd name="T88" fmla="*/ 1638 w 1724"/>
                <a:gd name="T89" fmla="*/ 598 h 1728"/>
                <a:gd name="T90" fmla="*/ 86 w 1724"/>
                <a:gd name="T91" fmla="*/ 598 h 1728"/>
                <a:gd name="T92" fmla="*/ 172 w 1724"/>
                <a:gd name="T93" fmla="*/ 549 h 1728"/>
                <a:gd name="T94" fmla="*/ 172 w 1724"/>
                <a:gd name="T95" fmla="*/ 449 h 1728"/>
                <a:gd name="T96" fmla="*/ 86 w 1724"/>
                <a:gd name="T97" fmla="*/ 400 h 1728"/>
                <a:gd name="T98" fmla="*/ 0 w 1724"/>
                <a:gd name="T99" fmla="*/ 449 h 1728"/>
                <a:gd name="T100" fmla="*/ 0 w 1724"/>
                <a:gd name="T101" fmla="*/ 549 h 1728"/>
                <a:gd name="T102" fmla="*/ 86 w 1724"/>
                <a:gd name="T103" fmla="*/ 598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4" h="1728">
                  <a:moveTo>
                    <a:pt x="352" y="578"/>
                  </a:moveTo>
                  <a:cubicBezTo>
                    <a:pt x="464" y="455"/>
                    <a:pt x="620" y="373"/>
                    <a:pt x="795" y="356"/>
                  </a:cubicBezTo>
                  <a:cubicBezTo>
                    <a:pt x="795" y="400"/>
                    <a:pt x="795" y="400"/>
                    <a:pt x="795" y="400"/>
                  </a:cubicBezTo>
                  <a:cubicBezTo>
                    <a:pt x="636" y="416"/>
                    <a:pt x="494" y="491"/>
                    <a:pt x="391" y="601"/>
                  </a:cubicBezTo>
                  <a:lnTo>
                    <a:pt x="352" y="578"/>
                  </a:lnTo>
                  <a:close/>
                  <a:moveTo>
                    <a:pt x="927" y="400"/>
                  </a:moveTo>
                  <a:cubicBezTo>
                    <a:pt x="1086" y="416"/>
                    <a:pt x="1228" y="491"/>
                    <a:pt x="1331" y="602"/>
                  </a:cubicBezTo>
                  <a:cubicBezTo>
                    <a:pt x="1370" y="579"/>
                    <a:pt x="1370" y="579"/>
                    <a:pt x="1370" y="579"/>
                  </a:cubicBezTo>
                  <a:cubicBezTo>
                    <a:pt x="1258" y="455"/>
                    <a:pt x="1102" y="373"/>
                    <a:pt x="927" y="356"/>
                  </a:cubicBezTo>
                  <a:lnTo>
                    <a:pt x="927" y="400"/>
                  </a:lnTo>
                  <a:close/>
                  <a:moveTo>
                    <a:pt x="1412" y="707"/>
                  </a:moveTo>
                  <a:cubicBezTo>
                    <a:pt x="1471" y="805"/>
                    <a:pt x="1505" y="919"/>
                    <a:pt x="1505" y="1041"/>
                  </a:cubicBezTo>
                  <a:cubicBezTo>
                    <a:pt x="1505" y="1396"/>
                    <a:pt x="1216" y="1684"/>
                    <a:pt x="861" y="1684"/>
                  </a:cubicBezTo>
                  <a:cubicBezTo>
                    <a:pt x="506" y="1684"/>
                    <a:pt x="217" y="1396"/>
                    <a:pt x="217" y="1041"/>
                  </a:cubicBezTo>
                  <a:cubicBezTo>
                    <a:pt x="217" y="919"/>
                    <a:pt x="251" y="804"/>
                    <a:pt x="310" y="707"/>
                  </a:cubicBezTo>
                  <a:cubicBezTo>
                    <a:pt x="273" y="685"/>
                    <a:pt x="273" y="685"/>
                    <a:pt x="273" y="685"/>
                  </a:cubicBezTo>
                  <a:cubicBezTo>
                    <a:pt x="209" y="788"/>
                    <a:pt x="173" y="910"/>
                    <a:pt x="173" y="1041"/>
                  </a:cubicBezTo>
                  <a:cubicBezTo>
                    <a:pt x="173" y="1420"/>
                    <a:pt x="482" y="1728"/>
                    <a:pt x="861" y="1728"/>
                  </a:cubicBezTo>
                  <a:cubicBezTo>
                    <a:pt x="1240" y="1728"/>
                    <a:pt x="1549" y="1420"/>
                    <a:pt x="1549" y="1041"/>
                  </a:cubicBezTo>
                  <a:cubicBezTo>
                    <a:pt x="1549" y="911"/>
                    <a:pt x="1512" y="789"/>
                    <a:pt x="1449" y="685"/>
                  </a:cubicBezTo>
                  <a:lnTo>
                    <a:pt x="1412" y="707"/>
                  </a:lnTo>
                  <a:close/>
                  <a:moveTo>
                    <a:pt x="687" y="738"/>
                  </a:moveTo>
                  <a:cubicBezTo>
                    <a:pt x="648" y="738"/>
                    <a:pt x="617" y="770"/>
                    <a:pt x="617" y="809"/>
                  </a:cubicBezTo>
                  <a:cubicBezTo>
                    <a:pt x="617" y="847"/>
                    <a:pt x="648" y="879"/>
                    <a:pt x="687" y="879"/>
                  </a:cubicBezTo>
                  <a:cubicBezTo>
                    <a:pt x="726" y="879"/>
                    <a:pt x="757" y="847"/>
                    <a:pt x="757" y="809"/>
                  </a:cubicBezTo>
                  <a:cubicBezTo>
                    <a:pt x="757" y="770"/>
                    <a:pt x="726" y="738"/>
                    <a:pt x="687" y="738"/>
                  </a:cubicBezTo>
                  <a:close/>
                  <a:moveTo>
                    <a:pt x="1062" y="970"/>
                  </a:moveTo>
                  <a:cubicBezTo>
                    <a:pt x="1024" y="970"/>
                    <a:pt x="992" y="1002"/>
                    <a:pt x="992" y="1041"/>
                  </a:cubicBezTo>
                  <a:cubicBezTo>
                    <a:pt x="992" y="1079"/>
                    <a:pt x="1024" y="1111"/>
                    <a:pt x="1062" y="1111"/>
                  </a:cubicBezTo>
                  <a:cubicBezTo>
                    <a:pt x="1101" y="1111"/>
                    <a:pt x="1133" y="1079"/>
                    <a:pt x="1133" y="1041"/>
                  </a:cubicBezTo>
                  <a:cubicBezTo>
                    <a:pt x="1133" y="1002"/>
                    <a:pt x="1101" y="970"/>
                    <a:pt x="1062" y="970"/>
                  </a:cubicBezTo>
                  <a:close/>
                  <a:moveTo>
                    <a:pt x="861" y="198"/>
                  </a:moveTo>
                  <a:cubicBezTo>
                    <a:pt x="947" y="149"/>
                    <a:pt x="947" y="149"/>
                    <a:pt x="947" y="149"/>
                  </a:cubicBezTo>
                  <a:cubicBezTo>
                    <a:pt x="947" y="49"/>
                    <a:pt x="947" y="49"/>
                    <a:pt x="947" y="49"/>
                  </a:cubicBezTo>
                  <a:cubicBezTo>
                    <a:pt x="861" y="0"/>
                    <a:pt x="861" y="0"/>
                    <a:pt x="861" y="0"/>
                  </a:cubicBezTo>
                  <a:cubicBezTo>
                    <a:pt x="775" y="49"/>
                    <a:pt x="775" y="49"/>
                    <a:pt x="775" y="49"/>
                  </a:cubicBezTo>
                  <a:cubicBezTo>
                    <a:pt x="775" y="149"/>
                    <a:pt x="775" y="149"/>
                    <a:pt x="775" y="149"/>
                  </a:cubicBezTo>
                  <a:lnTo>
                    <a:pt x="861" y="198"/>
                  </a:lnTo>
                  <a:close/>
                  <a:moveTo>
                    <a:pt x="1638" y="598"/>
                  </a:moveTo>
                  <a:cubicBezTo>
                    <a:pt x="1724" y="549"/>
                    <a:pt x="1724" y="549"/>
                    <a:pt x="1724" y="549"/>
                  </a:cubicBezTo>
                  <a:cubicBezTo>
                    <a:pt x="1724" y="449"/>
                    <a:pt x="1724" y="449"/>
                    <a:pt x="1724" y="449"/>
                  </a:cubicBezTo>
                  <a:cubicBezTo>
                    <a:pt x="1638" y="400"/>
                    <a:pt x="1638" y="400"/>
                    <a:pt x="1638" y="400"/>
                  </a:cubicBezTo>
                  <a:cubicBezTo>
                    <a:pt x="1552" y="449"/>
                    <a:pt x="1552" y="449"/>
                    <a:pt x="1552" y="449"/>
                  </a:cubicBezTo>
                  <a:cubicBezTo>
                    <a:pt x="1552" y="549"/>
                    <a:pt x="1552" y="549"/>
                    <a:pt x="1552" y="549"/>
                  </a:cubicBezTo>
                  <a:lnTo>
                    <a:pt x="1638" y="598"/>
                  </a:lnTo>
                  <a:close/>
                  <a:moveTo>
                    <a:pt x="86" y="598"/>
                  </a:moveTo>
                  <a:cubicBezTo>
                    <a:pt x="172" y="549"/>
                    <a:pt x="172" y="549"/>
                    <a:pt x="172" y="549"/>
                  </a:cubicBezTo>
                  <a:cubicBezTo>
                    <a:pt x="172" y="449"/>
                    <a:pt x="172" y="449"/>
                    <a:pt x="172" y="449"/>
                  </a:cubicBezTo>
                  <a:cubicBezTo>
                    <a:pt x="86" y="400"/>
                    <a:pt x="86" y="400"/>
                    <a:pt x="86" y="400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549"/>
                    <a:pt x="0" y="549"/>
                    <a:pt x="0" y="549"/>
                  </a:cubicBezTo>
                  <a:lnTo>
                    <a:pt x="86" y="59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9" name="Freeform 37">
              <a:extLst>
                <a:ext uri="{FF2B5EF4-FFF2-40B4-BE49-F238E27FC236}">
                  <a16:creationId xmlns:a16="http://schemas.microsoft.com/office/drawing/2014/main" id="{F9DFC98A-7E0E-144B-FFD7-BD6ECE8951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2" y="446"/>
              <a:ext cx="3560" cy="3047"/>
            </a:xfrm>
            <a:custGeom>
              <a:avLst/>
              <a:gdLst>
                <a:gd name="T0" fmla="*/ 949 w 1900"/>
                <a:gd name="T1" fmla="*/ 654 h 1625"/>
                <a:gd name="T2" fmla="*/ 463 w 1900"/>
                <a:gd name="T3" fmla="*/ 1140 h 1625"/>
                <a:gd name="T4" fmla="*/ 584 w 1900"/>
                <a:gd name="T5" fmla="*/ 1459 h 1625"/>
                <a:gd name="T6" fmla="*/ 1318 w 1900"/>
                <a:gd name="T7" fmla="*/ 1454 h 1625"/>
                <a:gd name="T8" fmla="*/ 1265 w 1900"/>
                <a:gd name="T9" fmla="*/ 831 h 1625"/>
                <a:gd name="T10" fmla="*/ 1056 w 1900"/>
                <a:gd name="T11" fmla="*/ 711 h 1625"/>
                <a:gd name="T12" fmla="*/ 508 w 1900"/>
                <a:gd name="T13" fmla="*/ 1162 h 1625"/>
                <a:gd name="T14" fmla="*/ 603 w 1900"/>
                <a:gd name="T15" fmla="*/ 1414 h 1625"/>
                <a:gd name="T16" fmla="*/ 786 w 1900"/>
                <a:gd name="T17" fmla="*/ 1476 h 1625"/>
                <a:gd name="T18" fmla="*/ 949 w 1900"/>
                <a:gd name="T19" fmla="*/ 1581 h 1625"/>
                <a:gd name="T20" fmla="*/ 1095 w 1900"/>
                <a:gd name="T21" fmla="*/ 1392 h 1625"/>
                <a:gd name="T22" fmla="*/ 1111 w 1900"/>
                <a:gd name="T23" fmla="*/ 1476 h 1625"/>
                <a:gd name="T24" fmla="*/ 1056 w 1900"/>
                <a:gd name="T25" fmla="*/ 1568 h 1625"/>
                <a:gd name="T26" fmla="*/ 1166 w 1900"/>
                <a:gd name="T27" fmla="*/ 1253 h 1625"/>
                <a:gd name="T28" fmla="*/ 1106 w 1900"/>
                <a:gd name="T29" fmla="*/ 1349 h 1625"/>
                <a:gd name="T30" fmla="*/ 770 w 1900"/>
                <a:gd name="T31" fmla="*/ 1162 h 1625"/>
                <a:gd name="T32" fmla="*/ 1038 w 1900"/>
                <a:gd name="T33" fmla="*/ 1118 h 1625"/>
                <a:gd name="T34" fmla="*/ 775 w 1900"/>
                <a:gd name="T35" fmla="*/ 1022 h 1625"/>
                <a:gd name="T36" fmla="*/ 508 w 1900"/>
                <a:gd name="T37" fmla="*/ 1118 h 1625"/>
                <a:gd name="T38" fmla="*/ 676 w 1900"/>
                <a:gd name="T39" fmla="*/ 851 h 1625"/>
                <a:gd name="T40" fmla="*/ 790 w 1900"/>
                <a:gd name="T41" fmla="*/ 794 h 1625"/>
                <a:gd name="T42" fmla="*/ 1095 w 1900"/>
                <a:gd name="T43" fmla="*/ 887 h 1625"/>
                <a:gd name="T44" fmla="*/ 889 w 1900"/>
                <a:gd name="T45" fmla="*/ 908 h 1625"/>
                <a:gd name="T46" fmla="*/ 1106 w 1900"/>
                <a:gd name="T47" fmla="*/ 930 h 1625"/>
                <a:gd name="T48" fmla="*/ 1166 w 1900"/>
                <a:gd name="T49" fmla="*/ 1027 h 1625"/>
                <a:gd name="T50" fmla="*/ 1390 w 1900"/>
                <a:gd name="T51" fmla="*/ 1118 h 1625"/>
                <a:gd name="T52" fmla="*/ 1262 w 1900"/>
                <a:gd name="T53" fmla="*/ 1162 h 1625"/>
                <a:gd name="T54" fmla="*/ 575 w 1900"/>
                <a:gd name="T55" fmla="*/ 714 h 1625"/>
                <a:gd name="T56" fmla="*/ 348 w 1900"/>
                <a:gd name="T57" fmla="*/ 673 h 1625"/>
                <a:gd name="T58" fmla="*/ 185 w 1900"/>
                <a:gd name="T59" fmla="*/ 404 h 1625"/>
                <a:gd name="T60" fmla="*/ 0 w 1900"/>
                <a:gd name="T61" fmla="*/ 510 h 1625"/>
                <a:gd name="T62" fmla="*/ 163 w 1900"/>
                <a:gd name="T63" fmla="*/ 793 h 1625"/>
                <a:gd name="T64" fmla="*/ 326 w 1900"/>
                <a:gd name="T65" fmla="*/ 711 h 1625"/>
                <a:gd name="T66" fmla="*/ 446 w 1900"/>
                <a:gd name="T67" fmla="*/ 878 h 1625"/>
                <a:gd name="T68" fmla="*/ 574 w 1900"/>
                <a:gd name="T69" fmla="*/ 746 h 1625"/>
                <a:gd name="T70" fmla="*/ 174 w 1900"/>
                <a:gd name="T71" fmla="*/ 748 h 1625"/>
                <a:gd name="T72" fmla="*/ 174 w 1900"/>
                <a:gd name="T73" fmla="*/ 448 h 1625"/>
                <a:gd name="T74" fmla="*/ 1889 w 1900"/>
                <a:gd name="T75" fmla="*/ 491 h 1625"/>
                <a:gd name="T76" fmla="*/ 1563 w 1900"/>
                <a:gd name="T77" fmla="*/ 491 h 1625"/>
                <a:gd name="T78" fmla="*/ 1400 w 1900"/>
                <a:gd name="T79" fmla="*/ 763 h 1625"/>
                <a:gd name="T80" fmla="*/ 1323 w 1900"/>
                <a:gd name="T81" fmla="*/ 746 h 1625"/>
                <a:gd name="T82" fmla="*/ 1451 w 1900"/>
                <a:gd name="T83" fmla="*/ 878 h 1625"/>
                <a:gd name="T84" fmla="*/ 1574 w 1900"/>
                <a:gd name="T85" fmla="*/ 711 h 1625"/>
                <a:gd name="T86" fmla="*/ 1737 w 1900"/>
                <a:gd name="T87" fmla="*/ 793 h 1625"/>
                <a:gd name="T88" fmla="*/ 1900 w 1900"/>
                <a:gd name="T89" fmla="*/ 510 h 1625"/>
                <a:gd name="T90" fmla="*/ 1726 w 1900"/>
                <a:gd name="T91" fmla="*/ 748 h 1625"/>
                <a:gd name="T92" fmla="*/ 1726 w 1900"/>
                <a:gd name="T93" fmla="*/ 448 h 1625"/>
                <a:gd name="T94" fmla="*/ 1112 w 1900"/>
                <a:gd name="T95" fmla="*/ 91 h 1625"/>
                <a:gd name="T96" fmla="*/ 786 w 1900"/>
                <a:gd name="T97" fmla="*/ 91 h 1625"/>
                <a:gd name="T98" fmla="*/ 786 w 1900"/>
                <a:gd name="T99" fmla="*/ 305 h 1625"/>
                <a:gd name="T100" fmla="*/ 859 w 1900"/>
                <a:gd name="T101" fmla="*/ 559 h 1625"/>
                <a:gd name="T102" fmla="*/ 866 w 1900"/>
                <a:gd name="T103" fmla="*/ 602 h 1625"/>
                <a:gd name="T104" fmla="*/ 1038 w 1900"/>
                <a:gd name="T105" fmla="*/ 559 h 1625"/>
                <a:gd name="T106" fmla="*/ 1112 w 1900"/>
                <a:gd name="T107" fmla="*/ 305 h 1625"/>
                <a:gd name="T108" fmla="*/ 1112 w 1900"/>
                <a:gd name="T109" fmla="*/ 91 h 1625"/>
                <a:gd name="T110" fmla="*/ 819 w 1900"/>
                <a:gd name="T111" fmla="*/ 273 h 1625"/>
                <a:gd name="T112" fmla="*/ 1079 w 1900"/>
                <a:gd name="T113" fmla="*/ 123 h 1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00" h="1625">
                  <a:moveTo>
                    <a:pt x="1318" y="825"/>
                  </a:moveTo>
                  <a:cubicBezTo>
                    <a:pt x="1317" y="823"/>
                    <a:pt x="1316" y="822"/>
                    <a:pt x="1315" y="821"/>
                  </a:cubicBezTo>
                  <a:cubicBezTo>
                    <a:pt x="1226" y="719"/>
                    <a:pt x="1095" y="654"/>
                    <a:pt x="949" y="654"/>
                  </a:cubicBezTo>
                  <a:cubicBezTo>
                    <a:pt x="803" y="654"/>
                    <a:pt x="672" y="719"/>
                    <a:pt x="583" y="820"/>
                  </a:cubicBezTo>
                  <a:cubicBezTo>
                    <a:pt x="582" y="822"/>
                    <a:pt x="580" y="823"/>
                    <a:pt x="579" y="825"/>
                  </a:cubicBezTo>
                  <a:cubicBezTo>
                    <a:pt x="507" y="910"/>
                    <a:pt x="463" y="1020"/>
                    <a:pt x="463" y="1140"/>
                  </a:cubicBezTo>
                  <a:cubicBezTo>
                    <a:pt x="463" y="1259"/>
                    <a:pt x="507" y="1369"/>
                    <a:pt x="579" y="1454"/>
                  </a:cubicBezTo>
                  <a:cubicBezTo>
                    <a:pt x="579" y="1454"/>
                    <a:pt x="579" y="1454"/>
                    <a:pt x="579" y="1454"/>
                  </a:cubicBezTo>
                  <a:cubicBezTo>
                    <a:pt x="580" y="1456"/>
                    <a:pt x="582" y="1458"/>
                    <a:pt x="584" y="1459"/>
                  </a:cubicBezTo>
                  <a:cubicBezTo>
                    <a:pt x="673" y="1561"/>
                    <a:pt x="803" y="1625"/>
                    <a:pt x="949" y="1625"/>
                  </a:cubicBezTo>
                  <a:cubicBezTo>
                    <a:pt x="1095" y="1625"/>
                    <a:pt x="1225" y="1561"/>
                    <a:pt x="1315" y="1459"/>
                  </a:cubicBezTo>
                  <a:cubicBezTo>
                    <a:pt x="1316" y="1457"/>
                    <a:pt x="1317" y="1456"/>
                    <a:pt x="1318" y="1454"/>
                  </a:cubicBezTo>
                  <a:cubicBezTo>
                    <a:pt x="1391" y="1369"/>
                    <a:pt x="1434" y="1260"/>
                    <a:pt x="1434" y="1140"/>
                  </a:cubicBezTo>
                  <a:cubicBezTo>
                    <a:pt x="1434" y="1020"/>
                    <a:pt x="1391" y="910"/>
                    <a:pt x="1318" y="825"/>
                  </a:cubicBezTo>
                  <a:close/>
                  <a:moveTo>
                    <a:pt x="1265" y="831"/>
                  </a:moveTo>
                  <a:cubicBezTo>
                    <a:pt x="1228" y="851"/>
                    <a:pt x="1185" y="866"/>
                    <a:pt x="1138" y="878"/>
                  </a:cubicBezTo>
                  <a:cubicBezTo>
                    <a:pt x="1130" y="851"/>
                    <a:pt x="1122" y="826"/>
                    <a:pt x="1111" y="803"/>
                  </a:cubicBezTo>
                  <a:cubicBezTo>
                    <a:pt x="1095" y="766"/>
                    <a:pt x="1077" y="735"/>
                    <a:pt x="1056" y="711"/>
                  </a:cubicBezTo>
                  <a:cubicBezTo>
                    <a:pt x="1137" y="731"/>
                    <a:pt x="1208" y="774"/>
                    <a:pt x="1265" y="831"/>
                  </a:cubicBezTo>
                  <a:close/>
                  <a:moveTo>
                    <a:pt x="603" y="1414"/>
                  </a:moveTo>
                  <a:cubicBezTo>
                    <a:pt x="547" y="1344"/>
                    <a:pt x="512" y="1257"/>
                    <a:pt x="508" y="1162"/>
                  </a:cubicBezTo>
                  <a:cubicBezTo>
                    <a:pt x="726" y="1162"/>
                    <a:pt x="726" y="1162"/>
                    <a:pt x="726" y="1162"/>
                  </a:cubicBezTo>
                  <a:cubicBezTo>
                    <a:pt x="727" y="1231"/>
                    <a:pt x="735" y="1298"/>
                    <a:pt x="749" y="1359"/>
                  </a:cubicBezTo>
                  <a:cubicBezTo>
                    <a:pt x="695" y="1372"/>
                    <a:pt x="645" y="1391"/>
                    <a:pt x="603" y="1414"/>
                  </a:cubicBezTo>
                  <a:close/>
                  <a:moveTo>
                    <a:pt x="633" y="1448"/>
                  </a:moveTo>
                  <a:cubicBezTo>
                    <a:pt x="670" y="1428"/>
                    <a:pt x="713" y="1413"/>
                    <a:pt x="759" y="1401"/>
                  </a:cubicBezTo>
                  <a:cubicBezTo>
                    <a:pt x="767" y="1428"/>
                    <a:pt x="776" y="1453"/>
                    <a:pt x="786" y="1476"/>
                  </a:cubicBezTo>
                  <a:cubicBezTo>
                    <a:pt x="802" y="1513"/>
                    <a:pt x="821" y="1544"/>
                    <a:pt x="841" y="1568"/>
                  </a:cubicBezTo>
                  <a:cubicBezTo>
                    <a:pt x="761" y="1548"/>
                    <a:pt x="689" y="1505"/>
                    <a:pt x="633" y="1448"/>
                  </a:cubicBezTo>
                  <a:close/>
                  <a:moveTo>
                    <a:pt x="949" y="1581"/>
                  </a:moveTo>
                  <a:cubicBezTo>
                    <a:pt x="894" y="1581"/>
                    <a:pt x="837" y="1511"/>
                    <a:pt x="802" y="1392"/>
                  </a:cubicBezTo>
                  <a:cubicBezTo>
                    <a:pt x="849" y="1384"/>
                    <a:pt x="898" y="1379"/>
                    <a:pt x="949" y="1379"/>
                  </a:cubicBezTo>
                  <a:cubicBezTo>
                    <a:pt x="999" y="1379"/>
                    <a:pt x="1049" y="1384"/>
                    <a:pt x="1095" y="1392"/>
                  </a:cubicBezTo>
                  <a:cubicBezTo>
                    <a:pt x="1061" y="1511"/>
                    <a:pt x="1004" y="1581"/>
                    <a:pt x="949" y="1581"/>
                  </a:cubicBezTo>
                  <a:close/>
                  <a:moveTo>
                    <a:pt x="1056" y="1568"/>
                  </a:moveTo>
                  <a:cubicBezTo>
                    <a:pt x="1077" y="1544"/>
                    <a:pt x="1095" y="1513"/>
                    <a:pt x="1111" y="1476"/>
                  </a:cubicBezTo>
                  <a:cubicBezTo>
                    <a:pt x="1122" y="1453"/>
                    <a:pt x="1130" y="1428"/>
                    <a:pt x="1138" y="1401"/>
                  </a:cubicBezTo>
                  <a:cubicBezTo>
                    <a:pt x="1185" y="1413"/>
                    <a:pt x="1228" y="1428"/>
                    <a:pt x="1265" y="1448"/>
                  </a:cubicBezTo>
                  <a:cubicBezTo>
                    <a:pt x="1208" y="1505"/>
                    <a:pt x="1137" y="1548"/>
                    <a:pt x="1056" y="1568"/>
                  </a:cubicBezTo>
                  <a:close/>
                  <a:moveTo>
                    <a:pt x="1295" y="1414"/>
                  </a:moveTo>
                  <a:cubicBezTo>
                    <a:pt x="1252" y="1391"/>
                    <a:pt x="1203" y="1372"/>
                    <a:pt x="1149" y="1359"/>
                  </a:cubicBezTo>
                  <a:cubicBezTo>
                    <a:pt x="1157" y="1325"/>
                    <a:pt x="1162" y="1289"/>
                    <a:pt x="1166" y="1253"/>
                  </a:cubicBezTo>
                  <a:cubicBezTo>
                    <a:pt x="1161" y="1253"/>
                    <a:pt x="1156" y="1254"/>
                    <a:pt x="1150" y="1254"/>
                  </a:cubicBezTo>
                  <a:cubicBezTo>
                    <a:pt x="1141" y="1254"/>
                    <a:pt x="1131" y="1253"/>
                    <a:pt x="1123" y="1250"/>
                  </a:cubicBezTo>
                  <a:cubicBezTo>
                    <a:pt x="1119" y="1286"/>
                    <a:pt x="1113" y="1319"/>
                    <a:pt x="1106" y="1349"/>
                  </a:cubicBezTo>
                  <a:cubicBezTo>
                    <a:pt x="1056" y="1340"/>
                    <a:pt x="1003" y="1335"/>
                    <a:pt x="949" y="1335"/>
                  </a:cubicBezTo>
                  <a:cubicBezTo>
                    <a:pt x="895" y="1335"/>
                    <a:pt x="841" y="1340"/>
                    <a:pt x="791" y="1349"/>
                  </a:cubicBezTo>
                  <a:cubicBezTo>
                    <a:pt x="779" y="1294"/>
                    <a:pt x="771" y="1231"/>
                    <a:pt x="770" y="1162"/>
                  </a:cubicBezTo>
                  <a:cubicBezTo>
                    <a:pt x="1038" y="1162"/>
                    <a:pt x="1038" y="1162"/>
                    <a:pt x="1038" y="1162"/>
                  </a:cubicBezTo>
                  <a:cubicBezTo>
                    <a:pt x="1037" y="1154"/>
                    <a:pt x="1036" y="1147"/>
                    <a:pt x="1036" y="1140"/>
                  </a:cubicBezTo>
                  <a:cubicBezTo>
                    <a:pt x="1036" y="1132"/>
                    <a:pt x="1037" y="1125"/>
                    <a:pt x="1038" y="1118"/>
                  </a:cubicBezTo>
                  <a:cubicBezTo>
                    <a:pt x="770" y="1118"/>
                    <a:pt x="770" y="1118"/>
                    <a:pt x="770" y="1118"/>
                  </a:cubicBezTo>
                  <a:cubicBezTo>
                    <a:pt x="770" y="1084"/>
                    <a:pt x="772" y="1052"/>
                    <a:pt x="776" y="1022"/>
                  </a:cubicBezTo>
                  <a:cubicBezTo>
                    <a:pt x="776" y="1022"/>
                    <a:pt x="775" y="1022"/>
                    <a:pt x="775" y="1022"/>
                  </a:cubicBezTo>
                  <a:cubicBezTo>
                    <a:pt x="760" y="1022"/>
                    <a:pt x="746" y="1019"/>
                    <a:pt x="733" y="1013"/>
                  </a:cubicBezTo>
                  <a:cubicBezTo>
                    <a:pt x="729" y="1047"/>
                    <a:pt x="726" y="1082"/>
                    <a:pt x="726" y="1118"/>
                  </a:cubicBezTo>
                  <a:cubicBezTo>
                    <a:pt x="508" y="1118"/>
                    <a:pt x="508" y="1118"/>
                    <a:pt x="508" y="1118"/>
                  </a:cubicBezTo>
                  <a:cubicBezTo>
                    <a:pt x="512" y="1023"/>
                    <a:pt x="547" y="935"/>
                    <a:pt x="603" y="865"/>
                  </a:cubicBezTo>
                  <a:cubicBezTo>
                    <a:pt x="621" y="875"/>
                    <a:pt x="641" y="885"/>
                    <a:pt x="662" y="893"/>
                  </a:cubicBezTo>
                  <a:cubicBezTo>
                    <a:pt x="664" y="878"/>
                    <a:pt x="669" y="864"/>
                    <a:pt x="676" y="851"/>
                  </a:cubicBezTo>
                  <a:cubicBezTo>
                    <a:pt x="661" y="845"/>
                    <a:pt x="646" y="838"/>
                    <a:pt x="633" y="831"/>
                  </a:cubicBezTo>
                  <a:cubicBezTo>
                    <a:pt x="689" y="774"/>
                    <a:pt x="761" y="731"/>
                    <a:pt x="841" y="711"/>
                  </a:cubicBezTo>
                  <a:cubicBezTo>
                    <a:pt x="823" y="733"/>
                    <a:pt x="805" y="761"/>
                    <a:pt x="790" y="794"/>
                  </a:cubicBezTo>
                  <a:cubicBezTo>
                    <a:pt x="805" y="796"/>
                    <a:pt x="819" y="801"/>
                    <a:pt x="832" y="808"/>
                  </a:cubicBezTo>
                  <a:cubicBezTo>
                    <a:pt x="865" y="738"/>
                    <a:pt x="908" y="698"/>
                    <a:pt x="949" y="698"/>
                  </a:cubicBezTo>
                  <a:cubicBezTo>
                    <a:pt x="1004" y="698"/>
                    <a:pt x="1061" y="769"/>
                    <a:pt x="1095" y="887"/>
                  </a:cubicBezTo>
                  <a:cubicBezTo>
                    <a:pt x="1049" y="896"/>
                    <a:pt x="999" y="900"/>
                    <a:pt x="949" y="900"/>
                  </a:cubicBezTo>
                  <a:cubicBezTo>
                    <a:pt x="929" y="900"/>
                    <a:pt x="909" y="899"/>
                    <a:pt x="889" y="898"/>
                  </a:cubicBezTo>
                  <a:cubicBezTo>
                    <a:pt x="889" y="901"/>
                    <a:pt x="889" y="904"/>
                    <a:pt x="889" y="908"/>
                  </a:cubicBezTo>
                  <a:cubicBezTo>
                    <a:pt x="889" y="919"/>
                    <a:pt x="887" y="931"/>
                    <a:pt x="884" y="942"/>
                  </a:cubicBezTo>
                  <a:cubicBezTo>
                    <a:pt x="905" y="943"/>
                    <a:pt x="927" y="944"/>
                    <a:pt x="949" y="944"/>
                  </a:cubicBezTo>
                  <a:cubicBezTo>
                    <a:pt x="1003" y="944"/>
                    <a:pt x="1056" y="939"/>
                    <a:pt x="1106" y="930"/>
                  </a:cubicBezTo>
                  <a:cubicBezTo>
                    <a:pt x="1113" y="960"/>
                    <a:pt x="1119" y="993"/>
                    <a:pt x="1123" y="1029"/>
                  </a:cubicBezTo>
                  <a:cubicBezTo>
                    <a:pt x="1131" y="1027"/>
                    <a:pt x="1141" y="1025"/>
                    <a:pt x="1150" y="1025"/>
                  </a:cubicBezTo>
                  <a:cubicBezTo>
                    <a:pt x="1156" y="1025"/>
                    <a:pt x="1161" y="1026"/>
                    <a:pt x="1166" y="1027"/>
                  </a:cubicBezTo>
                  <a:cubicBezTo>
                    <a:pt x="1162" y="990"/>
                    <a:pt x="1157" y="954"/>
                    <a:pt x="1149" y="921"/>
                  </a:cubicBezTo>
                  <a:cubicBezTo>
                    <a:pt x="1203" y="907"/>
                    <a:pt x="1252" y="889"/>
                    <a:pt x="1295" y="865"/>
                  </a:cubicBezTo>
                  <a:cubicBezTo>
                    <a:pt x="1350" y="935"/>
                    <a:pt x="1385" y="1023"/>
                    <a:pt x="1390" y="1118"/>
                  </a:cubicBezTo>
                  <a:cubicBezTo>
                    <a:pt x="1262" y="1118"/>
                    <a:pt x="1262" y="1118"/>
                    <a:pt x="1262" y="1118"/>
                  </a:cubicBezTo>
                  <a:cubicBezTo>
                    <a:pt x="1264" y="1125"/>
                    <a:pt x="1265" y="1132"/>
                    <a:pt x="1265" y="1140"/>
                  </a:cubicBezTo>
                  <a:cubicBezTo>
                    <a:pt x="1265" y="1147"/>
                    <a:pt x="1264" y="1154"/>
                    <a:pt x="1262" y="1162"/>
                  </a:cubicBezTo>
                  <a:cubicBezTo>
                    <a:pt x="1390" y="1162"/>
                    <a:pt x="1390" y="1162"/>
                    <a:pt x="1390" y="1162"/>
                  </a:cubicBezTo>
                  <a:cubicBezTo>
                    <a:pt x="1385" y="1257"/>
                    <a:pt x="1350" y="1344"/>
                    <a:pt x="1295" y="1414"/>
                  </a:cubicBezTo>
                  <a:close/>
                  <a:moveTo>
                    <a:pt x="575" y="714"/>
                  </a:moveTo>
                  <a:cubicBezTo>
                    <a:pt x="567" y="706"/>
                    <a:pt x="553" y="705"/>
                    <a:pt x="544" y="714"/>
                  </a:cubicBezTo>
                  <a:cubicBezTo>
                    <a:pt x="527" y="729"/>
                    <a:pt x="512" y="746"/>
                    <a:pt x="498" y="763"/>
                  </a:cubicBezTo>
                  <a:cubicBezTo>
                    <a:pt x="348" y="673"/>
                    <a:pt x="348" y="673"/>
                    <a:pt x="348" y="673"/>
                  </a:cubicBezTo>
                  <a:cubicBezTo>
                    <a:pt x="348" y="510"/>
                    <a:pt x="348" y="510"/>
                    <a:pt x="348" y="510"/>
                  </a:cubicBezTo>
                  <a:cubicBezTo>
                    <a:pt x="348" y="502"/>
                    <a:pt x="344" y="495"/>
                    <a:pt x="337" y="491"/>
                  </a:cubicBezTo>
                  <a:cubicBezTo>
                    <a:pt x="185" y="404"/>
                    <a:pt x="185" y="404"/>
                    <a:pt x="185" y="404"/>
                  </a:cubicBezTo>
                  <a:cubicBezTo>
                    <a:pt x="178" y="400"/>
                    <a:pt x="170" y="400"/>
                    <a:pt x="163" y="404"/>
                  </a:cubicBezTo>
                  <a:cubicBezTo>
                    <a:pt x="11" y="491"/>
                    <a:pt x="11" y="491"/>
                    <a:pt x="11" y="491"/>
                  </a:cubicBezTo>
                  <a:cubicBezTo>
                    <a:pt x="4" y="495"/>
                    <a:pt x="0" y="502"/>
                    <a:pt x="0" y="510"/>
                  </a:cubicBezTo>
                  <a:cubicBezTo>
                    <a:pt x="0" y="686"/>
                    <a:pt x="0" y="686"/>
                    <a:pt x="0" y="686"/>
                  </a:cubicBezTo>
                  <a:cubicBezTo>
                    <a:pt x="0" y="694"/>
                    <a:pt x="4" y="701"/>
                    <a:pt x="11" y="705"/>
                  </a:cubicBezTo>
                  <a:cubicBezTo>
                    <a:pt x="163" y="793"/>
                    <a:pt x="163" y="793"/>
                    <a:pt x="163" y="793"/>
                  </a:cubicBezTo>
                  <a:cubicBezTo>
                    <a:pt x="166" y="795"/>
                    <a:pt x="170" y="796"/>
                    <a:pt x="174" y="796"/>
                  </a:cubicBezTo>
                  <a:cubicBezTo>
                    <a:pt x="178" y="796"/>
                    <a:pt x="181" y="795"/>
                    <a:pt x="185" y="793"/>
                  </a:cubicBezTo>
                  <a:cubicBezTo>
                    <a:pt x="326" y="711"/>
                    <a:pt x="326" y="711"/>
                    <a:pt x="326" y="711"/>
                  </a:cubicBezTo>
                  <a:cubicBezTo>
                    <a:pt x="470" y="798"/>
                    <a:pt x="470" y="798"/>
                    <a:pt x="470" y="798"/>
                  </a:cubicBezTo>
                  <a:cubicBezTo>
                    <a:pt x="459" y="814"/>
                    <a:pt x="448" y="831"/>
                    <a:pt x="438" y="848"/>
                  </a:cubicBezTo>
                  <a:cubicBezTo>
                    <a:pt x="432" y="859"/>
                    <a:pt x="436" y="872"/>
                    <a:pt x="446" y="878"/>
                  </a:cubicBezTo>
                  <a:cubicBezTo>
                    <a:pt x="450" y="880"/>
                    <a:pt x="454" y="881"/>
                    <a:pt x="457" y="881"/>
                  </a:cubicBezTo>
                  <a:cubicBezTo>
                    <a:pt x="465" y="881"/>
                    <a:pt x="472" y="877"/>
                    <a:pt x="476" y="870"/>
                  </a:cubicBezTo>
                  <a:cubicBezTo>
                    <a:pt x="503" y="824"/>
                    <a:pt x="536" y="782"/>
                    <a:pt x="574" y="746"/>
                  </a:cubicBezTo>
                  <a:cubicBezTo>
                    <a:pt x="583" y="737"/>
                    <a:pt x="583" y="723"/>
                    <a:pt x="575" y="714"/>
                  </a:cubicBezTo>
                  <a:close/>
                  <a:moveTo>
                    <a:pt x="304" y="673"/>
                  </a:moveTo>
                  <a:cubicBezTo>
                    <a:pt x="174" y="748"/>
                    <a:pt x="174" y="748"/>
                    <a:pt x="174" y="748"/>
                  </a:cubicBezTo>
                  <a:cubicBezTo>
                    <a:pt x="44" y="673"/>
                    <a:pt x="44" y="673"/>
                    <a:pt x="44" y="673"/>
                  </a:cubicBezTo>
                  <a:cubicBezTo>
                    <a:pt x="44" y="523"/>
                    <a:pt x="44" y="523"/>
                    <a:pt x="44" y="523"/>
                  </a:cubicBezTo>
                  <a:cubicBezTo>
                    <a:pt x="174" y="448"/>
                    <a:pt x="174" y="448"/>
                    <a:pt x="174" y="448"/>
                  </a:cubicBezTo>
                  <a:cubicBezTo>
                    <a:pt x="304" y="523"/>
                    <a:pt x="304" y="523"/>
                    <a:pt x="304" y="523"/>
                  </a:cubicBezTo>
                  <a:lnTo>
                    <a:pt x="304" y="673"/>
                  </a:lnTo>
                  <a:close/>
                  <a:moveTo>
                    <a:pt x="1889" y="491"/>
                  </a:moveTo>
                  <a:cubicBezTo>
                    <a:pt x="1737" y="404"/>
                    <a:pt x="1737" y="404"/>
                    <a:pt x="1737" y="404"/>
                  </a:cubicBezTo>
                  <a:cubicBezTo>
                    <a:pt x="1730" y="400"/>
                    <a:pt x="1722" y="400"/>
                    <a:pt x="1715" y="404"/>
                  </a:cubicBezTo>
                  <a:cubicBezTo>
                    <a:pt x="1563" y="491"/>
                    <a:pt x="1563" y="491"/>
                    <a:pt x="1563" y="491"/>
                  </a:cubicBezTo>
                  <a:cubicBezTo>
                    <a:pt x="1556" y="495"/>
                    <a:pt x="1552" y="502"/>
                    <a:pt x="1552" y="510"/>
                  </a:cubicBezTo>
                  <a:cubicBezTo>
                    <a:pt x="1552" y="673"/>
                    <a:pt x="1552" y="673"/>
                    <a:pt x="1552" y="673"/>
                  </a:cubicBezTo>
                  <a:cubicBezTo>
                    <a:pt x="1400" y="763"/>
                    <a:pt x="1400" y="763"/>
                    <a:pt x="1400" y="763"/>
                  </a:cubicBezTo>
                  <a:cubicBezTo>
                    <a:pt x="1385" y="746"/>
                    <a:pt x="1370" y="729"/>
                    <a:pt x="1354" y="714"/>
                  </a:cubicBezTo>
                  <a:cubicBezTo>
                    <a:pt x="1345" y="705"/>
                    <a:pt x="1331" y="706"/>
                    <a:pt x="1323" y="714"/>
                  </a:cubicBezTo>
                  <a:cubicBezTo>
                    <a:pt x="1314" y="723"/>
                    <a:pt x="1315" y="737"/>
                    <a:pt x="1323" y="746"/>
                  </a:cubicBezTo>
                  <a:cubicBezTo>
                    <a:pt x="1362" y="782"/>
                    <a:pt x="1395" y="824"/>
                    <a:pt x="1421" y="870"/>
                  </a:cubicBezTo>
                  <a:cubicBezTo>
                    <a:pt x="1425" y="877"/>
                    <a:pt x="1433" y="881"/>
                    <a:pt x="1440" y="881"/>
                  </a:cubicBezTo>
                  <a:cubicBezTo>
                    <a:pt x="1444" y="881"/>
                    <a:pt x="1448" y="880"/>
                    <a:pt x="1451" y="878"/>
                  </a:cubicBezTo>
                  <a:cubicBezTo>
                    <a:pt x="1462" y="872"/>
                    <a:pt x="1465" y="859"/>
                    <a:pt x="1459" y="848"/>
                  </a:cubicBezTo>
                  <a:cubicBezTo>
                    <a:pt x="1449" y="831"/>
                    <a:pt x="1439" y="814"/>
                    <a:pt x="1427" y="798"/>
                  </a:cubicBezTo>
                  <a:cubicBezTo>
                    <a:pt x="1574" y="711"/>
                    <a:pt x="1574" y="711"/>
                    <a:pt x="1574" y="711"/>
                  </a:cubicBezTo>
                  <a:cubicBezTo>
                    <a:pt x="1715" y="793"/>
                    <a:pt x="1715" y="793"/>
                    <a:pt x="1715" y="793"/>
                  </a:cubicBezTo>
                  <a:cubicBezTo>
                    <a:pt x="1719" y="795"/>
                    <a:pt x="1722" y="796"/>
                    <a:pt x="1726" y="796"/>
                  </a:cubicBezTo>
                  <a:cubicBezTo>
                    <a:pt x="1730" y="796"/>
                    <a:pt x="1734" y="795"/>
                    <a:pt x="1737" y="793"/>
                  </a:cubicBezTo>
                  <a:cubicBezTo>
                    <a:pt x="1889" y="705"/>
                    <a:pt x="1889" y="705"/>
                    <a:pt x="1889" y="705"/>
                  </a:cubicBezTo>
                  <a:cubicBezTo>
                    <a:pt x="1896" y="701"/>
                    <a:pt x="1900" y="694"/>
                    <a:pt x="1900" y="686"/>
                  </a:cubicBezTo>
                  <a:cubicBezTo>
                    <a:pt x="1900" y="510"/>
                    <a:pt x="1900" y="510"/>
                    <a:pt x="1900" y="510"/>
                  </a:cubicBezTo>
                  <a:cubicBezTo>
                    <a:pt x="1900" y="502"/>
                    <a:pt x="1896" y="495"/>
                    <a:pt x="1889" y="491"/>
                  </a:cubicBezTo>
                  <a:close/>
                  <a:moveTo>
                    <a:pt x="1856" y="673"/>
                  </a:moveTo>
                  <a:cubicBezTo>
                    <a:pt x="1726" y="748"/>
                    <a:pt x="1726" y="748"/>
                    <a:pt x="1726" y="748"/>
                  </a:cubicBezTo>
                  <a:cubicBezTo>
                    <a:pt x="1596" y="673"/>
                    <a:pt x="1596" y="673"/>
                    <a:pt x="1596" y="673"/>
                  </a:cubicBezTo>
                  <a:cubicBezTo>
                    <a:pt x="1596" y="523"/>
                    <a:pt x="1596" y="523"/>
                    <a:pt x="1596" y="523"/>
                  </a:cubicBezTo>
                  <a:cubicBezTo>
                    <a:pt x="1726" y="448"/>
                    <a:pt x="1726" y="448"/>
                    <a:pt x="1726" y="448"/>
                  </a:cubicBezTo>
                  <a:cubicBezTo>
                    <a:pt x="1856" y="523"/>
                    <a:pt x="1856" y="523"/>
                    <a:pt x="1856" y="523"/>
                  </a:cubicBezTo>
                  <a:lnTo>
                    <a:pt x="1856" y="673"/>
                  </a:lnTo>
                  <a:close/>
                  <a:moveTo>
                    <a:pt x="1112" y="91"/>
                  </a:moveTo>
                  <a:cubicBezTo>
                    <a:pt x="960" y="4"/>
                    <a:pt x="960" y="4"/>
                    <a:pt x="960" y="4"/>
                  </a:cubicBezTo>
                  <a:cubicBezTo>
                    <a:pt x="953" y="0"/>
                    <a:pt x="944" y="0"/>
                    <a:pt x="938" y="4"/>
                  </a:cubicBezTo>
                  <a:cubicBezTo>
                    <a:pt x="786" y="91"/>
                    <a:pt x="786" y="91"/>
                    <a:pt x="786" y="91"/>
                  </a:cubicBezTo>
                  <a:cubicBezTo>
                    <a:pt x="779" y="95"/>
                    <a:pt x="775" y="102"/>
                    <a:pt x="775" y="110"/>
                  </a:cubicBezTo>
                  <a:cubicBezTo>
                    <a:pt x="775" y="286"/>
                    <a:pt x="775" y="286"/>
                    <a:pt x="775" y="286"/>
                  </a:cubicBezTo>
                  <a:cubicBezTo>
                    <a:pt x="775" y="294"/>
                    <a:pt x="779" y="301"/>
                    <a:pt x="786" y="305"/>
                  </a:cubicBezTo>
                  <a:cubicBezTo>
                    <a:pt x="927" y="386"/>
                    <a:pt x="927" y="386"/>
                    <a:pt x="927" y="386"/>
                  </a:cubicBezTo>
                  <a:cubicBezTo>
                    <a:pt x="927" y="552"/>
                    <a:pt x="927" y="552"/>
                    <a:pt x="927" y="552"/>
                  </a:cubicBezTo>
                  <a:cubicBezTo>
                    <a:pt x="904" y="553"/>
                    <a:pt x="882" y="555"/>
                    <a:pt x="859" y="559"/>
                  </a:cubicBezTo>
                  <a:cubicBezTo>
                    <a:pt x="847" y="560"/>
                    <a:pt x="839" y="572"/>
                    <a:pt x="841" y="584"/>
                  </a:cubicBezTo>
                  <a:cubicBezTo>
                    <a:pt x="843" y="595"/>
                    <a:pt x="852" y="602"/>
                    <a:pt x="863" y="602"/>
                  </a:cubicBezTo>
                  <a:cubicBezTo>
                    <a:pt x="864" y="602"/>
                    <a:pt x="865" y="602"/>
                    <a:pt x="866" y="602"/>
                  </a:cubicBezTo>
                  <a:cubicBezTo>
                    <a:pt x="920" y="594"/>
                    <a:pt x="977" y="594"/>
                    <a:pt x="1031" y="602"/>
                  </a:cubicBezTo>
                  <a:cubicBezTo>
                    <a:pt x="1043" y="604"/>
                    <a:pt x="1055" y="596"/>
                    <a:pt x="1056" y="584"/>
                  </a:cubicBezTo>
                  <a:cubicBezTo>
                    <a:pt x="1058" y="572"/>
                    <a:pt x="1050" y="560"/>
                    <a:pt x="1038" y="559"/>
                  </a:cubicBezTo>
                  <a:cubicBezTo>
                    <a:pt x="1016" y="555"/>
                    <a:pt x="993" y="553"/>
                    <a:pt x="971" y="552"/>
                  </a:cubicBezTo>
                  <a:cubicBezTo>
                    <a:pt x="971" y="386"/>
                    <a:pt x="971" y="386"/>
                    <a:pt x="971" y="386"/>
                  </a:cubicBezTo>
                  <a:cubicBezTo>
                    <a:pt x="1112" y="305"/>
                    <a:pt x="1112" y="305"/>
                    <a:pt x="1112" y="305"/>
                  </a:cubicBezTo>
                  <a:cubicBezTo>
                    <a:pt x="1118" y="301"/>
                    <a:pt x="1123" y="294"/>
                    <a:pt x="1123" y="286"/>
                  </a:cubicBezTo>
                  <a:cubicBezTo>
                    <a:pt x="1123" y="110"/>
                    <a:pt x="1123" y="110"/>
                    <a:pt x="1123" y="110"/>
                  </a:cubicBezTo>
                  <a:cubicBezTo>
                    <a:pt x="1123" y="102"/>
                    <a:pt x="1118" y="95"/>
                    <a:pt x="1112" y="91"/>
                  </a:cubicBezTo>
                  <a:close/>
                  <a:moveTo>
                    <a:pt x="1079" y="273"/>
                  </a:moveTo>
                  <a:cubicBezTo>
                    <a:pt x="949" y="348"/>
                    <a:pt x="949" y="348"/>
                    <a:pt x="949" y="348"/>
                  </a:cubicBezTo>
                  <a:cubicBezTo>
                    <a:pt x="819" y="273"/>
                    <a:pt x="819" y="273"/>
                    <a:pt x="819" y="273"/>
                  </a:cubicBezTo>
                  <a:cubicBezTo>
                    <a:pt x="819" y="123"/>
                    <a:pt x="819" y="123"/>
                    <a:pt x="819" y="123"/>
                  </a:cubicBezTo>
                  <a:cubicBezTo>
                    <a:pt x="949" y="48"/>
                    <a:pt x="949" y="48"/>
                    <a:pt x="949" y="48"/>
                  </a:cubicBezTo>
                  <a:cubicBezTo>
                    <a:pt x="1079" y="123"/>
                    <a:pt x="1079" y="123"/>
                    <a:pt x="1079" y="123"/>
                  </a:cubicBezTo>
                  <a:lnTo>
                    <a:pt x="1079" y="27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0" name="Group 24">
            <a:extLst>
              <a:ext uri="{FF2B5EF4-FFF2-40B4-BE49-F238E27FC236}">
                <a16:creationId xmlns:a16="http://schemas.microsoft.com/office/drawing/2014/main" id="{27BD631D-41E0-7D72-3E1E-114E8B6C10CE}"/>
              </a:ext>
            </a:extLst>
          </p:cNvPr>
          <p:cNvGrpSpPr>
            <a:grpSpLocks noChangeAspect="1"/>
          </p:cNvGrpSpPr>
          <p:nvPr/>
        </p:nvGrpSpPr>
        <p:grpSpPr>
          <a:xfrm>
            <a:off x="494723" y="3405969"/>
            <a:ext cx="720000" cy="720000"/>
            <a:chOff x="5273675" y="2606675"/>
            <a:chExt cx="1644650" cy="1644650"/>
          </a:xfrm>
        </p:grpSpPr>
        <p:sp>
          <p:nvSpPr>
            <p:cNvPr id="42" name="AutoShape 3">
              <a:extLst>
                <a:ext uri="{FF2B5EF4-FFF2-40B4-BE49-F238E27FC236}">
                  <a16:creationId xmlns:a16="http://schemas.microsoft.com/office/drawing/2014/main" id="{4DBB5A96-E51E-9C1F-9598-C3E4A970D4E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3" name="Group 26">
              <a:extLst>
                <a:ext uri="{FF2B5EF4-FFF2-40B4-BE49-F238E27FC236}">
                  <a16:creationId xmlns:a16="http://schemas.microsoft.com/office/drawing/2014/main" id="{CBC983B5-8C56-8A6A-706F-502669907FFF}"/>
                </a:ext>
              </a:extLst>
            </p:cNvPr>
            <p:cNvGrpSpPr/>
            <p:nvPr/>
          </p:nvGrpSpPr>
          <p:grpSpPr>
            <a:xfrm>
              <a:off x="5332413" y="3094038"/>
              <a:ext cx="1533525" cy="614362"/>
              <a:chOff x="5332413" y="3094038"/>
              <a:chExt cx="1533525" cy="614362"/>
            </a:xfrm>
          </p:grpSpPr>
          <p:sp>
            <p:nvSpPr>
              <p:cNvPr id="44" name="Freeform 10">
                <a:extLst>
                  <a:ext uri="{FF2B5EF4-FFF2-40B4-BE49-F238E27FC236}">
                    <a16:creationId xmlns:a16="http://schemas.microsoft.com/office/drawing/2014/main" id="{88E9B8FF-2A19-EC24-C87F-0CCE76FDCA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2413" y="3094038"/>
                <a:ext cx="1533525" cy="542925"/>
              </a:xfrm>
              <a:custGeom>
                <a:avLst/>
                <a:gdLst>
                  <a:gd name="connsiteX0" fmla="*/ 1246187 w 1533525"/>
                  <a:gd name="connsiteY0" fmla="*/ 511175 h 542925"/>
                  <a:gd name="connsiteX1" fmla="*/ 1517878 w 1533525"/>
                  <a:gd name="connsiteY1" fmla="*/ 511175 h 542925"/>
                  <a:gd name="connsiteX2" fmla="*/ 1533525 w 1533525"/>
                  <a:gd name="connsiteY2" fmla="*/ 527050 h 542925"/>
                  <a:gd name="connsiteX3" fmla="*/ 1517878 w 1533525"/>
                  <a:gd name="connsiteY3" fmla="*/ 542925 h 542925"/>
                  <a:gd name="connsiteX4" fmla="*/ 1255433 w 1533525"/>
                  <a:gd name="connsiteY4" fmla="*/ 542925 h 542925"/>
                  <a:gd name="connsiteX5" fmla="*/ 1246187 w 1533525"/>
                  <a:gd name="connsiteY5" fmla="*/ 511175 h 542925"/>
                  <a:gd name="connsiteX6" fmla="*/ 735012 w 1533525"/>
                  <a:gd name="connsiteY6" fmla="*/ 511175 h 542925"/>
                  <a:gd name="connsiteX7" fmla="*/ 792162 w 1533525"/>
                  <a:gd name="connsiteY7" fmla="*/ 511175 h 542925"/>
                  <a:gd name="connsiteX8" fmla="*/ 783101 w 1533525"/>
                  <a:gd name="connsiteY8" fmla="*/ 542925 h 542925"/>
                  <a:gd name="connsiteX9" fmla="*/ 744072 w 1533525"/>
                  <a:gd name="connsiteY9" fmla="*/ 542925 h 542925"/>
                  <a:gd name="connsiteX10" fmla="*/ 735012 w 1533525"/>
                  <a:gd name="connsiteY10" fmla="*/ 511175 h 542925"/>
                  <a:gd name="connsiteX11" fmla="*/ 15650 w 1533525"/>
                  <a:gd name="connsiteY11" fmla="*/ 511175 h 542925"/>
                  <a:gd name="connsiteX12" fmla="*/ 280988 w 1533525"/>
                  <a:gd name="connsiteY12" fmla="*/ 511175 h 542925"/>
                  <a:gd name="connsiteX13" fmla="*/ 271740 w 1533525"/>
                  <a:gd name="connsiteY13" fmla="*/ 542925 h 542925"/>
                  <a:gd name="connsiteX14" fmla="*/ 15650 w 1533525"/>
                  <a:gd name="connsiteY14" fmla="*/ 542925 h 542925"/>
                  <a:gd name="connsiteX15" fmla="*/ 0 w 1533525"/>
                  <a:gd name="connsiteY15" fmla="*/ 527050 h 542925"/>
                  <a:gd name="connsiteX16" fmla="*/ 15650 w 1533525"/>
                  <a:gd name="connsiteY16" fmla="*/ 511175 h 542925"/>
                  <a:gd name="connsiteX17" fmla="*/ 764317 w 1533525"/>
                  <a:gd name="connsiteY17" fmla="*/ 349250 h 542925"/>
                  <a:gd name="connsiteX18" fmla="*/ 778175 w 1533525"/>
                  <a:gd name="connsiteY18" fmla="*/ 350679 h 542925"/>
                  <a:gd name="connsiteX19" fmla="*/ 788387 w 1533525"/>
                  <a:gd name="connsiteY19" fmla="*/ 352822 h 542925"/>
                  <a:gd name="connsiteX20" fmla="*/ 789845 w 1533525"/>
                  <a:gd name="connsiteY20" fmla="*/ 355680 h 542925"/>
                  <a:gd name="connsiteX21" fmla="*/ 773799 w 1533525"/>
                  <a:gd name="connsiteY21" fmla="*/ 380683 h 542925"/>
                  <a:gd name="connsiteX22" fmla="*/ 773799 w 1533525"/>
                  <a:gd name="connsiteY22" fmla="*/ 382826 h 542925"/>
                  <a:gd name="connsiteX23" fmla="*/ 789116 w 1533525"/>
                  <a:gd name="connsiteY23" fmla="*/ 477838 h 542925"/>
                  <a:gd name="connsiteX24" fmla="*/ 736600 w 1533525"/>
                  <a:gd name="connsiteY24" fmla="*/ 477838 h 542925"/>
                  <a:gd name="connsiteX25" fmla="*/ 753376 w 1533525"/>
                  <a:gd name="connsiteY25" fmla="*/ 382826 h 542925"/>
                  <a:gd name="connsiteX26" fmla="*/ 753376 w 1533525"/>
                  <a:gd name="connsiteY26" fmla="*/ 380683 h 542925"/>
                  <a:gd name="connsiteX27" fmla="*/ 737329 w 1533525"/>
                  <a:gd name="connsiteY27" fmla="*/ 355680 h 542925"/>
                  <a:gd name="connsiteX28" fmla="*/ 738788 w 1533525"/>
                  <a:gd name="connsiteY28" fmla="*/ 352822 h 542925"/>
                  <a:gd name="connsiteX29" fmla="*/ 749729 w 1533525"/>
                  <a:gd name="connsiteY29" fmla="*/ 350679 h 542925"/>
                  <a:gd name="connsiteX30" fmla="*/ 764317 w 1533525"/>
                  <a:gd name="connsiteY30" fmla="*/ 349250 h 542925"/>
                  <a:gd name="connsiteX31" fmla="*/ 1200963 w 1533525"/>
                  <a:gd name="connsiteY31" fmla="*/ 334962 h 542925"/>
                  <a:gd name="connsiteX32" fmla="*/ 1203105 w 1533525"/>
                  <a:gd name="connsiteY32" fmla="*/ 337095 h 542925"/>
                  <a:gd name="connsiteX33" fmla="*/ 1268787 w 1533525"/>
                  <a:gd name="connsiteY33" fmla="*/ 409598 h 542925"/>
                  <a:gd name="connsiteX34" fmla="*/ 1280210 w 1533525"/>
                  <a:gd name="connsiteY34" fmla="*/ 409598 h 542925"/>
                  <a:gd name="connsiteX35" fmla="*/ 1345893 w 1533525"/>
                  <a:gd name="connsiteY35" fmla="*/ 337095 h 542925"/>
                  <a:gd name="connsiteX36" fmla="*/ 1348034 w 1533525"/>
                  <a:gd name="connsiteY36" fmla="*/ 334962 h 542925"/>
                  <a:gd name="connsiteX37" fmla="*/ 1441561 w 1533525"/>
                  <a:gd name="connsiteY37" fmla="*/ 351311 h 542925"/>
                  <a:gd name="connsiteX38" fmla="*/ 1492250 w 1533525"/>
                  <a:gd name="connsiteY38" fmla="*/ 477837 h 542925"/>
                  <a:gd name="connsiteX39" fmla="*/ 1232376 w 1533525"/>
                  <a:gd name="connsiteY39" fmla="*/ 477837 h 542925"/>
                  <a:gd name="connsiteX40" fmla="*/ 1198821 w 1533525"/>
                  <a:gd name="connsiteY40" fmla="*/ 440164 h 542925"/>
                  <a:gd name="connsiteX41" fmla="*/ 1101725 w 1533525"/>
                  <a:gd name="connsiteY41" fmla="*/ 421682 h 542925"/>
                  <a:gd name="connsiteX42" fmla="*/ 1111720 w 1533525"/>
                  <a:gd name="connsiteY42" fmla="*/ 409598 h 542925"/>
                  <a:gd name="connsiteX43" fmla="*/ 1112434 w 1533525"/>
                  <a:gd name="connsiteY43" fmla="*/ 408177 h 542925"/>
                  <a:gd name="connsiteX44" fmla="*/ 1118859 w 1533525"/>
                  <a:gd name="connsiteY44" fmla="*/ 394671 h 542925"/>
                  <a:gd name="connsiteX45" fmla="*/ 1120287 w 1533525"/>
                  <a:gd name="connsiteY45" fmla="*/ 390406 h 542925"/>
                  <a:gd name="connsiteX46" fmla="*/ 1155271 w 1533525"/>
                  <a:gd name="connsiteY46" fmla="*/ 338516 h 542925"/>
                  <a:gd name="connsiteX47" fmla="*/ 1200963 w 1533525"/>
                  <a:gd name="connsiteY47" fmla="*/ 334962 h 542925"/>
                  <a:gd name="connsiteX48" fmla="*/ 837524 w 1533525"/>
                  <a:gd name="connsiteY48" fmla="*/ 334962 h 542925"/>
                  <a:gd name="connsiteX49" fmla="*/ 883153 w 1533525"/>
                  <a:gd name="connsiteY49" fmla="*/ 338545 h 542925"/>
                  <a:gd name="connsiteX50" fmla="*/ 917375 w 1533525"/>
                  <a:gd name="connsiteY50" fmla="*/ 389427 h 542925"/>
                  <a:gd name="connsiteX51" fmla="*/ 919514 w 1533525"/>
                  <a:gd name="connsiteY51" fmla="*/ 395160 h 542925"/>
                  <a:gd name="connsiteX52" fmla="*/ 928069 w 1533525"/>
                  <a:gd name="connsiteY52" fmla="*/ 412360 h 542925"/>
                  <a:gd name="connsiteX53" fmla="*/ 936625 w 1533525"/>
                  <a:gd name="connsiteY53" fmla="*/ 422393 h 542925"/>
                  <a:gd name="connsiteX54" fmla="*/ 839663 w 1533525"/>
                  <a:gd name="connsiteY54" fmla="*/ 441026 h 542925"/>
                  <a:gd name="connsiteX55" fmla="*/ 817562 w 1533525"/>
                  <a:gd name="connsiteY55" fmla="*/ 460375 h 542925"/>
                  <a:gd name="connsiteX56" fmla="*/ 835386 w 1533525"/>
                  <a:gd name="connsiteY56" fmla="*/ 337112 h 542925"/>
                  <a:gd name="connsiteX57" fmla="*/ 837524 w 1533525"/>
                  <a:gd name="connsiteY57" fmla="*/ 334962 h 542925"/>
                  <a:gd name="connsiteX58" fmla="*/ 689650 w 1533525"/>
                  <a:gd name="connsiteY58" fmla="*/ 334962 h 542925"/>
                  <a:gd name="connsiteX59" fmla="*/ 691789 w 1533525"/>
                  <a:gd name="connsiteY59" fmla="*/ 337112 h 542925"/>
                  <a:gd name="connsiteX60" fmla="*/ 709613 w 1533525"/>
                  <a:gd name="connsiteY60" fmla="*/ 460375 h 542925"/>
                  <a:gd name="connsiteX61" fmla="*/ 687511 w 1533525"/>
                  <a:gd name="connsiteY61" fmla="*/ 441026 h 542925"/>
                  <a:gd name="connsiteX62" fmla="*/ 590550 w 1533525"/>
                  <a:gd name="connsiteY62" fmla="*/ 422393 h 542925"/>
                  <a:gd name="connsiteX63" fmla="*/ 600531 w 1533525"/>
                  <a:gd name="connsiteY63" fmla="*/ 410210 h 542925"/>
                  <a:gd name="connsiteX64" fmla="*/ 601244 w 1533525"/>
                  <a:gd name="connsiteY64" fmla="*/ 408777 h 542925"/>
                  <a:gd name="connsiteX65" fmla="*/ 607661 w 1533525"/>
                  <a:gd name="connsiteY65" fmla="*/ 395160 h 542925"/>
                  <a:gd name="connsiteX66" fmla="*/ 609087 w 1533525"/>
                  <a:gd name="connsiteY66" fmla="*/ 390860 h 542925"/>
                  <a:gd name="connsiteX67" fmla="*/ 644021 w 1533525"/>
                  <a:gd name="connsiteY67" fmla="*/ 338545 h 542925"/>
                  <a:gd name="connsiteX68" fmla="*/ 689650 w 1533525"/>
                  <a:gd name="connsiteY68" fmla="*/ 334962 h 542925"/>
                  <a:gd name="connsiteX69" fmla="*/ 180120 w 1533525"/>
                  <a:gd name="connsiteY69" fmla="*/ 334962 h 542925"/>
                  <a:gd name="connsiteX70" fmla="*/ 252360 w 1533525"/>
                  <a:gd name="connsiteY70" fmla="*/ 369082 h 542925"/>
                  <a:gd name="connsiteX71" fmla="*/ 323885 w 1533525"/>
                  <a:gd name="connsiteY71" fmla="*/ 334962 h 542925"/>
                  <a:gd name="connsiteX72" fmla="*/ 371806 w 1533525"/>
                  <a:gd name="connsiteY72" fmla="*/ 338516 h 542925"/>
                  <a:gd name="connsiteX73" fmla="*/ 406138 w 1533525"/>
                  <a:gd name="connsiteY73" fmla="*/ 388985 h 542925"/>
                  <a:gd name="connsiteX74" fmla="*/ 408284 w 1533525"/>
                  <a:gd name="connsiteY74" fmla="*/ 394671 h 542925"/>
                  <a:gd name="connsiteX75" fmla="*/ 416867 w 1533525"/>
                  <a:gd name="connsiteY75" fmla="*/ 411731 h 542925"/>
                  <a:gd name="connsiteX76" fmla="*/ 425450 w 1533525"/>
                  <a:gd name="connsiteY76" fmla="*/ 421682 h 542925"/>
                  <a:gd name="connsiteX77" fmla="*/ 328176 w 1533525"/>
                  <a:gd name="connsiteY77" fmla="*/ 440164 h 542925"/>
                  <a:gd name="connsiteX78" fmla="*/ 294560 w 1533525"/>
                  <a:gd name="connsiteY78" fmla="*/ 477837 h 542925"/>
                  <a:gd name="connsiteX79" fmla="*/ 34925 w 1533525"/>
                  <a:gd name="connsiteY79" fmla="*/ 477837 h 542925"/>
                  <a:gd name="connsiteX80" fmla="*/ 84992 w 1533525"/>
                  <a:gd name="connsiteY80" fmla="*/ 351311 h 542925"/>
                  <a:gd name="connsiteX81" fmla="*/ 180120 w 1533525"/>
                  <a:gd name="connsiteY81" fmla="*/ 334962 h 542925"/>
                  <a:gd name="connsiteX82" fmla="*/ 1381410 w 1533525"/>
                  <a:gd name="connsiteY82" fmla="*/ 215900 h 542925"/>
                  <a:gd name="connsiteX83" fmla="*/ 1414463 w 1533525"/>
                  <a:gd name="connsiteY83" fmla="*/ 298275 h 542925"/>
                  <a:gd name="connsiteX84" fmla="*/ 1376380 w 1533525"/>
                  <a:gd name="connsiteY84" fmla="*/ 320675 h 542925"/>
                  <a:gd name="connsiteX85" fmla="*/ 1349074 w 1533525"/>
                  <a:gd name="connsiteY85" fmla="*/ 319230 h 542925"/>
                  <a:gd name="connsiteX86" fmla="*/ 1346200 w 1533525"/>
                  <a:gd name="connsiteY86" fmla="*/ 317785 h 542925"/>
                  <a:gd name="connsiteX87" fmla="*/ 1346200 w 1533525"/>
                  <a:gd name="connsiteY87" fmla="*/ 293939 h 542925"/>
                  <a:gd name="connsiteX88" fmla="*/ 1381410 w 1533525"/>
                  <a:gd name="connsiteY88" fmla="*/ 215900 h 542925"/>
                  <a:gd name="connsiteX89" fmla="*/ 1167890 w 1533525"/>
                  <a:gd name="connsiteY89" fmla="*/ 215900 h 542925"/>
                  <a:gd name="connsiteX90" fmla="*/ 1203325 w 1533525"/>
                  <a:gd name="connsiteY90" fmla="*/ 293939 h 542925"/>
                  <a:gd name="connsiteX91" fmla="*/ 1203325 w 1533525"/>
                  <a:gd name="connsiteY91" fmla="*/ 317785 h 542925"/>
                  <a:gd name="connsiteX92" fmla="*/ 1200490 w 1533525"/>
                  <a:gd name="connsiteY92" fmla="*/ 319230 h 542925"/>
                  <a:gd name="connsiteX93" fmla="*/ 1173559 w 1533525"/>
                  <a:gd name="connsiteY93" fmla="*/ 320675 h 542925"/>
                  <a:gd name="connsiteX94" fmla="*/ 1163637 w 1533525"/>
                  <a:gd name="connsiteY94" fmla="*/ 317785 h 542925"/>
                  <a:gd name="connsiteX95" fmla="*/ 1171433 w 1533525"/>
                  <a:gd name="connsiteY95" fmla="*/ 278765 h 542925"/>
                  <a:gd name="connsiteX96" fmla="*/ 1165055 w 1533525"/>
                  <a:gd name="connsiteY96" fmla="*/ 233242 h 542925"/>
                  <a:gd name="connsiteX97" fmla="*/ 1167890 w 1533525"/>
                  <a:gd name="connsiteY97" fmla="*/ 215900 h 542925"/>
                  <a:gd name="connsiteX98" fmla="*/ 1275200 w 1533525"/>
                  <a:gd name="connsiteY98" fmla="*/ 0 h 542925"/>
                  <a:gd name="connsiteX99" fmla="*/ 1397875 w 1533525"/>
                  <a:gd name="connsiteY99" fmla="*/ 124537 h 542925"/>
                  <a:gd name="connsiteX100" fmla="*/ 1393596 w 1533525"/>
                  <a:gd name="connsiteY100" fmla="*/ 166524 h 542925"/>
                  <a:gd name="connsiteX101" fmla="*/ 1393596 w 1533525"/>
                  <a:gd name="connsiteY101" fmla="*/ 165812 h 542925"/>
                  <a:gd name="connsiteX102" fmla="*/ 1380044 w 1533525"/>
                  <a:gd name="connsiteY102" fmla="*/ 185026 h 542925"/>
                  <a:gd name="connsiteX103" fmla="*/ 1378618 w 1533525"/>
                  <a:gd name="connsiteY103" fmla="*/ 185738 h 542925"/>
                  <a:gd name="connsiteX104" fmla="*/ 1370772 w 1533525"/>
                  <a:gd name="connsiteY104" fmla="*/ 185738 h 542925"/>
                  <a:gd name="connsiteX105" fmla="*/ 1370059 w 1533525"/>
                  <a:gd name="connsiteY105" fmla="*/ 185026 h 542925"/>
                  <a:gd name="connsiteX106" fmla="*/ 1208870 w 1533525"/>
                  <a:gd name="connsiteY106" fmla="*/ 100341 h 542925"/>
                  <a:gd name="connsiteX107" fmla="*/ 1207444 w 1533525"/>
                  <a:gd name="connsiteY107" fmla="*/ 99630 h 542925"/>
                  <a:gd name="connsiteX108" fmla="*/ 1159658 w 1533525"/>
                  <a:gd name="connsiteY108" fmla="*/ 175064 h 542925"/>
                  <a:gd name="connsiteX109" fmla="*/ 1152525 w 1533525"/>
                  <a:gd name="connsiteY109" fmla="*/ 124537 h 542925"/>
                  <a:gd name="connsiteX110" fmla="*/ 1275200 w 1533525"/>
                  <a:gd name="connsiteY110" fmla="*/ 0 h 542925"/>
                  <a:gd name="connsiteX111" fmla="*/ 763587 w 1533525"/>
                  <a:gd name="connsiteY111" fmla="*/ 0 h 542925"/>
                  <a:gd name="connsiteX112" fmla="*/ 884237 w 1533525"/>
                  <a:gd name="connsiteY112" fmla="*/ 123004 h 542925"/>
                  <a:gd name="connsiteX113" fmla="*/ 879953 w 1533525"/>
                  <a:gd name="connsiteY113" fmla="*/ 164953 h 542925"/>
                  <a:gd name="connsiteX114" fmla="*/ 866389 w 1533525"/>
                  <a:gd name="connsiteY114" fmla="*/ 184150 h 542925"/>
                  <a:gd name="connsiteX115" fmla="*/ 857108 w 1533525"/>
                  <a:gd name="connsiteY115" fmla="*/ 184150 h 542925"/>
                  <a:gd name="connsiteX116" fmla="*/ 856394 w 1533525"/>
                  <a:gd name="connsiteY116" fmla="*/ 93142 h 542925"/>
                  <a:gd name="connsiteX117" fmla="*/ 697194 w 1533525"/>
                  <a:gd name="connsiteY117" fmla="*/ 98830 h 542925"/>
                  <a:gd name="connsiteX118" fmla="*/ 667923 w 1533525"/>
                  <a:gd name="connsiteY118" fmla="*/ 182017 h 542925"/>
                  <a:gd name="connsiteX119" fmla="*/ 660070 w 1533525"/>
                  <a:gd name="connsiteY119" fmla="*/ 181306 h 542925"/>
                  <a:gd name="connsiteX120" fmla="*/ 647934 w 1533525"/>
                  <a:gd name="connsiteY120" fmla="*/ 166375 h 542925"/>
                  <a:gd name="connsiteX121" fmla="*/ 642937 w 1533525"/>
                  <a:gd name="connsiteY121" fmla="*/ 123004 h 542925"/>
                  <a:gd name="connsiteX122" fmla="*/ 763587 w 1533525"/>
                  <a:gd name="connsiteY122" fmla="*/ 0 h 542925"/>
                  <a:gd name="connsiteX123" fmla="*/ 252412 w 1533525"/>
                  <a:gd name="connsiteY123" fmla="*/ 0 h 542925"/>
                  <a:gd name="connsiteX124" fmla="*/ 373062 w 1533525"/>
                  <a:gd name="connsiteY124" fmla="*/ 123004 h 542925"/>
                  <a:gd name="connsiteX125" fmla="*/ 368778 w 1533525"/>
                  <a:gd name="connsiteY125" fmla="*/ 164953 h 542925"/>
                  <a:gd name="connsiteX126" fmla="*/ 368064 w 1533525"/>
                  <a:gd name="connsiteY126" fmla="*/ 164953 h 542925"/>
                  <a:gd name="connsiteX127" fmla="*/ 354500 w 1533525"/>
                  <a:gd name="connsiteY127" fmla="*/ 184150 h 542925"/>
                  <a:gd name="connsiteX128" fmla="*/ 345933 w 1533525"/>
                  <a:gd name="connsiteY128" fmla="*/ 184150 h 542925"/>
                  <a:gd name="connsiteX129" fmla="*/ 344506 w 1533525"/>
                  <a:gd name="connsiteY129" fmla="*/ 93142 h 542925"/>
                  <a:gd name="connsiteX130" fmla="*/ 186019 w 1533525"/>
                  <a:gd name="connsiteY130" fmla="*/ 98830 h 542925"/>
                  <a:gd name="connsiteX131" fmla="*/ 156748 w 1533525"/>
                  <a:gd name="connsiteY131" fmla="*/ 182017 h 542925"/>
                  <a:gd name="connsiteX132" fmla="*/ 148182 w 1533525"/>
                  <a:gd name="connsiteY132" fmla="*/ 181306 h 542925"/>
                  <a:gd name="connsiteX133" fmla="*/ 136759 w 1533525"/>
                  <a:gd name="connsiteY133" fmla="*/ 166375 h 542925"/>
                  <a:gd name="connsiteX134" fmla="*/ 131762 w 1533525"/>
                  <a:gd name="connsiteY134" fmla="*/ 123004 h 542925"/>
                  <a:gd name="connsiteX135" fmla="*/ 252412 w 1533525"/>
                  <a:gd name="connsiteY135" fmla="*/ 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1533525" h="542925">
                    <a:moveTo>
                      <a:pt x="1246187" y="511175"/>
                    </a:moveTo>
                    <a:cubicBezTo>
                      <a:pt x="1246187" y="511175"/>
                      <a:pt x="1246187" y="511175"/>
                      <a:pt x="1517878" y="511175"/>
                    </a:cubicBezTo>
                    <a:cubicBezTo>
                      <a:pt x="1526413" y="511175"/>
                      <a:pt x="1533525" y="518391"/>
                      <a:pt x="1533525" y="527050"/>
                    </a:cubicBezTo>
                    <a:cubicBezTo>
                      <a:pt x="1533525" y="536431"/>
                      <a:pt x="1526413" y="542925"/>
                      <a:pt x="1517878" y="542925"/>
                    </a:cubicBezTo>
                    <a:cubicBezTo>
                      <a:pt x="1517878" y="542925"/>
                      <a:pt x="1517878" y="542925"/>
                      <a:pt x="1255433" y="542925"/>
                    </a:cubicBezTo>
                    <a:cubicBezTo>
                      <a:pt x="1252588" y="531380"/>
                      <a:pt x="1249032" y="521277"/>
                      <a:pt x="1246187" y="511175"/>
                    </a:cubicBezTo>
                    <a:close/>
                    <a:moveTo>
                      <a:pt x="735012" y="511175"/>
                    </a:moveTo>
                    <a:cubicBezTo>
                      <a:pt x="735012" y="511175"/>
                      <a:pt x="735012" y="511175"/>
                      <a:pt x="792162" y="511175"/>
                    </a:cubicBezTo>
                    <a:cubicBezTo>
                      <a:pt x="789374" y="521277"/>
                      <a:pt x="786586" y="531380"/>
                      <a:pt x="783101" y="542925"/>
                    </a:cubicBezTo>
                    <a:cubicBezTo>
                      <a:pt x="783101" y="542925"/>
                      <a:pt x="783101" y="542925"/>
                      <a:pt x="744072" y="542925"/>
                    </a:cubicBezTo>
                    <a:cubicBezTo>
                      <a:pt x="740587" y="531380"/>
                      <a:pt x="737800" y="521277"/>
                      <a:pt x="735012" y="511175"/>
                    </a:cubicBezTo>
                    <a:close/>
                    <a:moveTo>
                      <a:pt x="15650" y="511175"/>
                    </a:moveTo>
                    <a:cubicBezTo>
                      <a:pt x="15650" y="511175"/>
                      <a:pt x="15650" y="511175"/>
                      <a:pt x="280988" y="511175"/>
                    </a:cubicBezTo>
                    <a:cubicBezTo>
                      <a:pt x="278142" y="521277"/>
                      <a:pt x="274586" y="531380"/>
                      <a:pt x="271740" y="542925"/>
                    </a:cubicBezTo>
                    <a:cubicBezTo>
                      <a:pt x="271740" y="542925"/>
                      <a:pt x="271740" y="542925"/>
                      <a:pt x="15650" y="542925"/>
                    </a:cubicBezTo>
                    <a:cubicBezTo>
                      <a:pt x="6402" y="542925"/>
                      <a:pt x="0" y="536431"/>
                      <a:pt x="0" y="527050"/>
                    </a:cubicBezTo>
                    <a:cubicBezTo>
                      <a:pt x="0" y="518391"/>
                      <a:pt x="6402" y="511175"/>
                      <a:pt x="15650" y="511175"/>
                    </a:cubicBezTo>
                    <a:close/>
                    <a:moveTo>
                      <a:pt x="764317" y="349250"/>
                    </a:moveTo>
                    <a:cubicBezTo>
                      <a:pt x="768693" y="349250"/>
                      <a:pt x="773799" y="349965"/>
                      <a:pt x="778175" y="350679"/>
                    </a:cubicBezTo>
                    <a:cubicBezTo>
                      <a:pt x="782551" y="351393"/>
                      <a:pt x="786198" y="352108"/>
                      <a:pt x="788387" y="352822"/>
                    </a:cubicBezTo>
                    <a:cubicBezTo>
                      <a:pt x="789845" y="352822"/>
                      <a:pt x="790575" y="354251"/>
                      <a:pt x="789845" y="355680"/>
                    </a:cubicBezTo>
                    <a:cubicBezTo>
                      <a:pt x="789845" y="355680"/>
                      <a:pt x="789845" y="355680"/>
                      <a:pt x="773799" y="380683"/>
                    </a:cubicBezTo>
                    <a:cubicBezTo>
                      <a:pt x="773799" y="381397"/>
                      <a:pt x="773799" y="382112"/>
                      <a:pt x="773799" y="382826"/>
                    </a:cubicBezTo>
                    <a:cubicBezTo>
                      <a:pt x="773799" y="382826"/>
                      <a:pt x="773799" y="382826"/>
                      <a:pt x="789116" y="477838"/>
                    </a:cubicBezTo>
                    <a:cubicBezTo>
                      <a:pt x="789116" y="477838"/>
                      <a:pt x="789116" y="477838"/>
                      <a:pt x="736600" y="477838"/>
                    </a:cubicBezTo>
                    <a:lnTo>
                      <a:pt x="753376" y="382826"/>
                    </a:lnTo>
                    <a:cubicBezTo>
                      <a:pt x="753376" y="382112"/>
                      <a:pt x="753376" y="381397"/>
                      <a:pt x="753376" y="380683"/>
                    </a:cubicBezTo>
                    <a:cubicBezTo>
                      <a:pt x="753376" y="380683"/>
                      <a:pt x="753376" y="380683"/>
                      <a:pt x="737329" y="355680"/>
                    </a:cubicBezTo>
                    <a:cubicBezTo>
                      <a:pt x="736600" y="354965"/>
                      <a:pt x="737329" y="352822"/>
                      <a:pt x="738788" y="352822"/>
                    </a:cubicBezTo>
                    <a:cubicBezTo>
                      <a:pt x="741705" y="352108"/>
                      <a:pt x="745352" y="351393"/>
                      <a:pt x="749729" y="350679"/>
                    </a:cubicBezTo>
                    <a:cubicBezTo>
                      <a:pt x="754105" y="349965"/>
                      <a:pt x="759940" y="349250"/>
                      <a:pt x="764317" y="349250"/>
                    </a:cubicBezTo>
                    <a:close/>
                    <a:moveTo>
                      <a:pt x="1200963" y="334962"/>
                    </a:moveTo>
                    <a:cubicBezTo>
                      <a:pt x="1202391" y="334962"/>
                      <a:pt x="1203105" y="335673"/>
                      <a:pt x="1203105" y="337095"/>
                    </a:cubicBezTo>
                    <a:cubicBezTo>
                      <a:pt x="1203105" y="337095"/>
                      <a:pt x="1203105" y="337095"/>
                      <a:pt x="1268787" y="409598"/>
                    </a:cubicBezTo>
                    <a:cubicBezTo>
                      <a:pt x="1271643" y="413863"/>
                      <a:pt x="1277354" y="413863"/>
                      <a:pt x="1280210" y="409598"/>
                    </a:cubicBezTo>
                    <a:cubicBezTo>
                      <a:pt x="1280210" y="409598"/>
                      <a:pt x="1280210" y="409598"/>
                      <a:pt x="1345893" y="337095"/>
                    </a:cubicBezTo>
                    <a:cubicBezTo>
                      <a:pt x="1345893" y="335673"/>
                      <a:pt x="1347320" y="334962"/>
                      <a:pt x="1348034" y="334962"/>
                    </a:cubicBezTo>
                    <a:cubicBezTo>
                      <a:pt x="1359457" y="334962"/>
                      <a:pt x="1411575" y="337095"/>
                      <a:pt x="1441561" y="351311"/>
                    </a:cubicBezTo>
                    <a:cubicBezTo>
                      <a:pt x="1465834" y="361973"/>
                      <a:pt x="1484397" y="447983"/>
                      <a:pt x="1492250" y="477837"/>
                    </a:cubicBezTo>
                    <a:cubicBezTo>
                      <a:pt x="1492250" y="477837"/>
                      <a:pt x="1492250" y="477837"/>
                      <a:pt x="1232376" y="477837"/>
                    </a:cubicBezTo>
                    <a:cubicBezTo>
                      <a:pt x="1223095" y="458645"/>
                      <a:pt x="1212386" y="446561"/>
                      <a:pt x="1198821" y="440164"/>
                    </a:cubicBezTo>
                    <a:cubicBezTo>
                      <a:pt x="1168836" y="425947"/>
                      <a:pt x="1123143" y="422393"/>
                      <a:pt x="1101725" y="421682"/>
                    </a:cubicBezTo>
                    <a:cubicBezTo>
                      <a:pt x="1106008" y="417417"/>
                      <a:pt x="1109578" y="413152"/>
                      <a:pt x="1111720" y="409598"/>
                    </a:cubicBezTo>
                    <a:cubicBezTo>
                      <a:pt x="1111720" y="409598"/>
                      <a:pt x="1111720" y="409598"/>
                      <a:pt x="1112434" y="408177"/>
                    </a:cubicBezTo>
                    <a:cubicBezTo>
                      <a:pt x="1116004" y="402490"/>
                      <a:pt x="1116717" y="400358"/>
                      <a:pt x="1118859" y="394671"/>
                    </a:cubicBezTo>
                    <a:cubicBezTo>
                      <a:pt x="1119573" y="393960"/>
                      <a:pt x="1119573" y="392539"/>
                      <a:pt x="1120287" y="390406"/>
                    </a:cubicBezTo>
                    <a:cubicBezTo>
                      <a:pt x="1133852" y="376901"/>
                      <a:pt x="1148131" y="354865"/>
                      <a:pt x="1155271" y="338516"/>
                    </a:cubicBezTo>
                    <a:cubicBezTo>
                      <a:pt x="1175975" y="335673"/>
                      <a:pt x="1195251" y="334962"/>
                      <a:pt x="1200963" y="334962"/>
                    </a:cubicBezTo>
                    <a:close/>
                    <a:moveTo>
                      <a:pt x="837524" y="334962"/>
                    </a:moveTo>
                    <a:cubicBezTo>
                      <a:pt x="843941" y="334962"/>
                      <a:pt x="862478" y="335679"/>
                      <a:pt x="883153" y="338545"/>
                    </a:cubicBezTo>
                    <a:cubicBezTo>
                      <a:pt x="891709" y="356461"/>
                      <a:pt x="905968" y="377244"/>
                      <a:pt x="917375" y="389427"/>
                    </a:cubicBezTo>
                    <a:cubicBezTo>
                      <a:pt x="918801" y="392294"/>
                      <a:pt x="918801" y="393727"/>
                      <a:pt x="919514" y="395160"/>
                    </a:cubicBezTo>
                    <a:cubicBezTo>
                      <a:pt x="921653" y="402327"/>
                      <a:pt x="923792" y="405910"/>
                      <a:pt x="928069" y="412360"/>
                    </a:cubicBezTo>
                    <a:cubicBezTo>
                      <a:pt x="930208" y="415226"/>
                      <a:pt x="933060" y="418810"/>
                      <a:pt x="936625" y="422393"/>
                    </a:cubicBezTo>
                    <a:cubicBezTo>
                      <a:pt x="915949" y="423110"/>
                      <a:pt x="870320" y="426693"/>
                      <a:pt x="839663" y="441026"/>
                    </a:cubicBezTo>
                    <a:cubicBezTo>
                      <a:pt x="831108" y="444609"/>
                      <a:pt x="823978" y="451059"/>
                      <a:pt x="817562" y="460375"/>
                    </a:cubicBezTo>
                    <a:cubicBezTo>
                      <a:pt x="817562" y="460375"/>
                      <a:pt x="817562" y="460375"/>
                      <a:pt x="835386" y="337112"/>
                    </a:cubicBezTo>
                    <a:cubicBezTo>
                      <a:pt x="835386" y="335679"/>
                      <a:pt x="836811" y="334962"/>
                      <a:pt x="837524" y="334962"/>
                    </a:cubicBezTo>
                    <a:close/>
                    <a:moveTo>
                      <a:pt x="689650" y="334962"/>
                    </a:moveTo>
                    <a:cubicBezTo>
                      <a:pt x="690363" y="334962"/>
                      <a:pt x="691789" y="335679"/>
                      <a:pt x="691789" y="337112"/>
                    </a:cubicBezTo>
                    <a:cubicBezTo>
                      <a:pt x="691789" y="337112"/>
                      <a:pt x="691789" y="337112"/>
                      <a:pt x="709613" y="460375"/>
                    </a:cubicBezTo>
                    <a:cubicBezTo>
                      <a:pt x="703196" y="451059"/>
                      <a:pt x="696067" y="444609"/>
                      <a:pt x="687511" y="441026"/>
                    </a:cubicBezTo>
                    <a:cubicBezTo>
                      <a:pt x="656854" y="426693"/>
                      <a:pt x="611225" y="423110"/>
                      <a:pt x="590550" y="422393"/>
                    </a:cubicBezTo>
                    <a:cubicBezTo>
                      <a:pt x="594827" y="418093"/>
                      <a:pt x="598392" y="413793"/>
                      <a:pt x="600531" y="410210"/>
                    </a:cubicBezTo>
                    <a:cubicBezTo>
                      <a:pt x="600531" y="410210"/>
                      <a:pt x="600531" y="410210"/>
                      <a:pt x="601244" y="408777"/>
                    </a:cubicBezTo>
                    <a:cubicBezTo>
                      <a:pt x="604809" y="403043"/>
                      <a:pt x="605522" y="400894"/>
                      <a:pt x="607661" y="395160"/>
                    </a:cubicBezTo>
                    <a:cubicBezTo>
                      <a:pt x="607661" y="394444"/>
                      <a:pt x="608374" y="393010"/>
                      <a:pt x="609087" y="390860"/>
                    </a:cubicBezTo>
                    <a:cubicBezTo>
                      <a:pt x="622633" y="377244"/>
                      <a:pt x="636179" y="355028"/>
                      <a:pt x="644021" y="338545"/>
                    </a:cubicBezTo>
                    <a:cubicBezTo>
                      <a:pt x="664697" y="335679"/>
                      <a:pt x="683234" y="334962"/>
                      <a:pt x="689650" y="334962"/>
                    </a:cubicBezTo>
                    <a:close/>
                    <a:moveTo>
                      <a:pt x="180120" y="334962"/>
                    </a:moveTo>
                    <a:cubicBezTo>
                      <a:pt x="180120" y="334962"/>
                      <a:pt x="204438" y="368371"/>
                      <a:pt x="252360" y="369082"/>
                    </a:cubicBezTo>
                    <a:cubicBezTo>
                      <a:pt x="299566" y="368371"/>
                      <a:pt x="323885" y="334962"/>
                      <a:pt x="323885" y="334962"/>
                    </a:cubicBezTo>
                    <a:cubicBezTo>
                      <a:pt x="323885" y="334962"/>
                      <a:pt x="346773" y="334962"/>
                      <a:pt x="371806" y="338516"/>
                    </a:cubicBezTo>
                    <a:cubicBezTo>
                      <a:pt x="379674" y="356287"/>
                      <a:pt x="394694" y="376901"/>
                      <a:pt x="406138" y="388985"/>
                    </a:cubicBezTo>
                    <a:cubicBezTo>
                      <a:pt x="406853" y="391828"/>
                      <a:pt x="407569" y="393249"/>
                      <a:pt x="408284" y="394671"/>
                    </a:cubicBezTo>
                    <a:cubicBezTo>
                      <a:pt x="410430" y="401779"/>
                      <a:pt x="411860" y="405333"/>
                      <a:pt x="416867" y="411731"/>
                    </a:cubicBezTo>
                    <a:cubicBezTo>
                      <a:pt x="419013" y="414574"/>
                      <a:pt x="421874" y="418128"/>
                      <a:pt x="425450" y="421682"/>
                    </a:cubicBezTo>
                    <a:cubicBezTo>
                      <a:pt x="404708" y="422393"/>
                      <a:pt x="358932" y="425947"/>
                      <a:pt x="328176" y="440164"/>
                    </a:cubicBezTo>
                    <a:cubicBezTo>
                      <a:pt x="314586" y="446561"/>
                      <a:pt x="303858" y="458645"/>
                      <a:pt x="294560" y="477837"/>
                    </a:cubicBezTo>
                    <a:cubicBezTo>
                      <a:pt x="294560" y="477837"/>
                      <a:pt x="294560" y="477837"/>
                      <a:pt x="34925" y="477837"/>
                    </a:cubicBezTo>
                    <a:cubicBezTo>
                      <a:pt x="43508" y="444429"/>
                      <a:pt x="61389" y="361973"/>
                      <a:pt x="84992" y="351311"/>
                    </a:cubicBezTo>
                    <a:cubicBezTo>
                      <a:pt x="118609" y="335673"/>
                      <a:pt x="180120" y="334962"/>
                      <a:pt x="180120" y="334962"/>
                    </a:cubicBezTo>
                    <a:close/>
                    <a:moveTo>
                      <a:pt x="1381410" y="215900"/>
                    </a:moveTo>
                    <a:cubicBezTo>
                      <a:pt x="1388595" y="215900"/>
                      <a:pt x="1375661" y="294662"/>
                      <a:pt x="1414463" y="298275"/>
                    </a:cubicBezTo>
                    <a:cubicBezTo>
                      <a:pt x="1400811" y="312727"/>
                      <a:pt x="1387158" y="318507"/>
                      <a:pt x="1376380" y="320675"/>
                    </a:cubicBezTo>
                    <a:cubicBezTo>
                      <a:pt x="1364164" y="319230"/>
                      <a:pt x="1354104" y="319230"/>
                      <a:pt x="1349074" y="319230"/>
                    </a:cubicBezTo>
                    <a:cubicBezTo>
                      <a:pt x="1347637" y="318507"/>
                      <a:pt x="1346200" y="317785"/>
                      <a:pt x="1346200" y="317785"/>
                    </a:cubicBezTo>
                    <a:cubicBezTo>
                      <a:pt x="1346200" y="317785"/>
                      <a:pt x="1346200" y="317785"/>
                      <a:pt x="1346200" y="293939"/>
                    </a:cubicBezTo>
                    <a:cubicBezTo>
                      <a:pt x="1346200" y="293939"/>
                      <a:pt x="1376380" y="238300"/>
                      <a:pt x="1381410" y="215900"/>
                    </a:cubicBezTo>
                    <a:close/>
                    <a:moveTo>
                      <a:pt x="1167890" y="215900"/>
                    </a:moveTo>
                    <a:cubicBezTo>
                      <a:pt x="1172851" y="236855"/>
                      <a:pt x="1203325" y="293939"/>
                      <a:pt x="1203325" y="293939"/>
                    </a:cubicBezTo>
                    <a:cubicBezTo>
                      <a:pt x="1203325" y="293939"/>
                      <a:pt x="1203325" y="293939"/>
                      <a:pt x="1203325" y="317785"/>
                    </a:cubicBezTo>
                    <a:cubicBezTo>
                      <a:pt x="1203325" y="317785"/>
                      <a:pt x="1201908" y="318507"/>
                      <a:pt x="1200490" y="319230"/>
                    </a:cubicBezTo>
                    <a:cubicBezTo>
                      <a:pt x="1196238" y="319230"/>
                      <a:pt x="1185607" y="319230"/>
                      <a:pt x="1173559" y="320675"/>
                    </a:cubicBezTo>
                    <a:cubicBezTo>
                      <a:pt x="1170016" y="319953"/>
                      <a:pt x="1167181" y="319230"/>
                      <a:pt x="1163637" y="317785"/>
                    </a:cubicBezTo>
                    <a:cubicBezTo>
                      <a:pt x="1167181" y="306946"/>
                      <a:pt x="1171433" y="293939"/>
                      <a:pt x="1171433" y="278765"/>
                    </a:cubicBezTo>
                    <a:cubicBezTo>
                      <a:pt x="1171433" y="262868"/>
                      <a:pt x="1169307" y="247694"/>
                      <a:pt x="1165055" y="233242"/>
                    </a:cubicBezTo>
                    <a:cubicBezTo>
                      <a:pt x="1165763" y="223126"/>
                      <a:pt x="1165763" y="215900"/>
                      <a:pt x="1167890" y="215900"/>
                    </a:cubicBezTo>
                    <a:close/>
                    <a:moveTo>
                      <a:pt x="1275200" y="0"/>
                    </a:moveTo>
                    <a:cubicBezTo>
                      <a:pt x="1344383" y="0"/>
                      <a:pt x="1397875" y="55508"/>
                      <a:pt x="1397875" y="124537"/>
                    </a:cubicBezTo>
                    <a:cubicBezTo>
                      <a:pt x="1397875" y="138770"/>
                      <a:pt x="1398588" y="153003"/>
                      <a:pt x="1393596" y="166524"/>
                    </a:cubicBezTo>
                    <a:cubicBezTo>
                      <a:pt x="1393596" y="166524"/>
                      <a:pt x="1393596" y="165812"/>
                      <a:pt x="1393596" y="165812"/>
                    </a:cubicBezTo>
                    <a:cubicBezTo>
                      <a:pt x="1392882" y="166524"/>
                      <a:pt x="1391456" y="172217"/>
                      <a:pt x="1380044" y="185026"/>
                    </a:cubicBezTo>
                    <a:cubicBezTo>
                      <a:pt x="1380044" y="185026"/>
                      <a:pt x="1379331" y="185738"/>
                      <a:pt x="1378618" y="185738"/>
                    </a:cubicBezTo>
                    <a:cubicBezTo>
                      <a:pt x="1378618" y="185738"/>
                      <a:pt x="1378618" y="185738"/>
                      <a:pt x="1370772" y="185738"/>
                    </a:cubicBezTo>
                    <a:cubicBezTo>
                      <a:pt x="1370772" y="185738"/>
                      <a:pt x="1370772" y="185738"/>
                      <a:pt x="1370059" y="185026"/>
                    </a:cubicBezTo>
                    <a:cubicBezTo>
                      <a:pt x="1370059" y="185026"/>
                      <a:pt x="1370059" y="185026"/>
                      <a:pt x="1208870" y="100341"/>
                    </a:cubicBezTo>
                    <a:cubicBezTo>
                      <a:pt x="1208157" y="99630"/>
                      <a:pt x="1208157" y="99630"/>
                      <a:pt x="1207444" y="99630"/>
                    </a:cubicBezTo>
                    <a:cubicBezTo>
                      <a:pt x="1171782" y="111728"/>
                      <a:pt x="1171782" y="185738"/>
                      <a:pt x="1159658" y="175064"/>
                    </a:cubicBezTo>
                    <a:cubicBezTo>
                      <a:pt x="1154665" y="161542"/>
                      <a:pt x="1152525" y="139482"/>
                      <a:pt x="1152525" y="124537"/>
                    </a:cubicBezTo>
                    <a:cubicBezTo>
                      <a:pt x="1152525" y="55508"/>
                      <a:pt x="1206017" y="0"/>
                      <a:pt x="1275200" y="0"/>
                    </a:cubicBezTo>
                    <a:close/>
                    <a:moveTo>
                      <a:pt x="763587" y="0"/>
                    </a:moveTo>
                    <a:cubicBezTo>
                      <a:pt x="832122" y="0"/>
                      <a:pt x="884237" y="55458"/>
                      <a:pt x="884237" y="123004"/>
                    </a:cubicBezTo>
                    <a:cubicBezTo>
                      <a:pt x="884237" y="137935"/>
                      <a:pt x="884237" y="152155"/>
                      <a:pt x="879953" y="164953"/>
                    </a:cubicBezTo>
                    <a:cubicBezTo>
                      <a:pt x="879239" y="164953"/>
                      <a:pt x="877098" y="171352"/>
                      <a:pt x="866389" y="184150"/>
                    </a:cubicBezTo>
                    <a:cubicBezTo>
                      <a:pt x="866389" y="184150"/>
                      <a:pt x="866389" y="184150"/>
                      <a:pt x="857108" y="184150"/>
                    </a:cubicBezTo>
                    <a:cubicBezTo>
                      <a:pt x="857108" y="184150"/>
                      <a:pt x="857108" y="179173"/>
                      <a:pt x="856394" y="93142"/>
                    </a:cubicBezTo>
                    <a:cubicBezTo>
                      <a:pt x="842116" y="162109"/>
                      <a:pt x="697194" y="98830"/>
                      <a:pt x="697194" y="98830"/>
                    </a:cubicBezTo>
                    <a:cubicBezTo>
                      <a:pt x="661498" y="110206"/>
                      <a:pt x="667923" y="182017"/>
                      <a:pt x="667923" y="182017"/>
                    </a:cubicBezTo>
                    <a:cubicBezTo>
                      <a:pt x="667923" y="182017"/>
                      <a:pt x="667923" y="182017"/>
                      <a:pt x="660070" y="181306"/>
                    </a:cubicBezTo>
                    <a:cubicBezTo>
                      <a:pt x="660070" y="181306"/>
                      <a:pt x="660070" y="177040"/>
                      <a:pt x="647934" y="166375"/>
                    </a:cubicBezTo>
                    <a:cubicBezTo>
                      <a:pt x="642937" y="152866"/>
                      <a:pt x="642937" y="138646"/>
                      <a:pt x="642937" y="123004"/>
                    </a:cubicBezTo>
                    <a:cubicBezTo>
                      <a:pt x="642937" y="55458"/>
                      <a:pt x="695052" y="0"/>
                      <a:pt x="763587" y="0"/>
                    </a:cubicBezTo>
                    <a:close/>
                    <a:moveTo>
                      <a:pt x="252412" y="0"/>
                    </a:moveTo>
                    <a:cubicBezTo>
                      <a:pt x="320233" y="0"/>
                      <a:pt x="373062" y="55458"/>
                      <a:pt x="373062" y="123004"/>
                    </a:cubicBezTo>
                    <a:cubicBezTo>
                      <a:pt x="373062" y="137935"/>
                      <a:pt x="373062" y="152155"/>
                      <a:pt x="368778" y="164953"/>
                    </a:cubicBezTo>
                    <a:cubicBezTo>
                      <a:pt x="368064" y="164953"/>
                      <a:pt x="368064" y="164953"/>
                      <a:pt x="368064" y="164953"/>
                    </a:cubicBezTo>
                    <a:cubicBezTo>
                      <a:pt x="368064" y="164953"/>
                      <a:pt x="365923" y="171352"/>
                      <a:pt x="354500" y="184150"/>
                    </a:cubicBezTo>
                    <a:cubicBezTo>
                      <a:pt x="354500" y="184150"/>
                      <a:pt x="354500" y="184150"/>
                      <a:pt x="345933" y="184150"/>
                    </a:cubicBezTo>
                    <a:cubicBezTo>
                      <a:pt x="345933" y="184150"/>
                      <a:pt x="345933" y="179173"/>
                      <a:pt x="344506" y="93142"/>
                    </a:cubicBezTo>
                    <a:cubicBezTo>
                      <a:pt x="330941" y="162109"/>
                      <a:pt x="186019" y="98830"/>
                      <a:pt x="186019" y="98830"/>
                    </a:cubicBezTo>
                    <a:cubicBezTo>
                      <a:pt x="150323" y="110206"/>
                      <a:pt x="156748" y="182017"/>
                      <a:pt x="156748" y="182017"/>
                    </a:cubicBezTo>
                    <a:cubicBezTo>
                      <a:pt x="156748" y="182017"/>
                      <a:pt x="156748" y="182017"/>
                      <a:pt x="148182" y="181306"/>
                    </a:cubicBezTo>
                    <a:cubicBezTo>
                      <a:pt x="148182" y="181306"/>
                      <a:pt x="148182" y="177040"/>
                      <a:pt x="136759" y="166375"/>
                    </a:cubicBezTo>
                    <a:cubicBezTo>
                      <a:pt x="131762" y="152866"/>
                      <a:pt x="131762" y="138646"/>
                      <a:pt x="131762" y="123004"/>
                    </a:cubicBezTo>
                    <a:cubicBezTo>
                      <a:pt x="131762" y="55458"/>
                      <a:pt x="183877" y="0"/>
                      <a:pt x="25241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5" name="Freeform 11">
                <a:extLst>
                  <a:ext uri="{FF2B5EF4-FFF2-40B4-BE49-F238E27FC236}">
                    <a16:creationId xmlns:a16="http://schemas.microsoft.com/office/drawing/2014/main" id="{96D61619-97D8-7686-4CAB-6711E16D5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0327" y="3249613"/>
                <a:ext cx="951344" cy="458787"/>
              </a:xfrm>
              <a:custGeom>
                <a:avLst/>
                <a:gdLst>
                  <a:gd name="connsiteX0" fmla="*/ 660078 w 951344"/>
                  <a:gd name="connsiteY0" fmla="*/ 296862 h 458787"/>
                  <a:gd name="connsiteX1" fmla="*/ 691398 w 951344"/>
                  <a:gd name="connsiteY1" fmla="*/ 313982 h 458787"/>
                  <a:gd name="connsiteX2" fmla="*/ 709193 w 951344"/>
                  <a:gd name="connsiteY2" fmla="*/ 318262 h 458787"/>
                  <a:gd name="connsiteX3" fmla="*/ 731260 w 951344"/>
                  <a:gd name="connsiteY3" fmla="*/ 319689 h 458787"/>
                  <a:gd name="connsiteX4" fmla="*/ 753326 w 951344"/>
                  <a:gd name="connsiteY4" fmla="*/ 318262 h 458787"/>
                  <a:gd name="connsiteX5" fmla="*/ 771121 w 951344"/>
                  <a:gd name="connsiteY5" fmla="*/ 313982 h 458787"/>
                  <a:gd name="connsiteX6" fmla="*/ 803153 w 951344"/>
                  <a:gd name="connsiteY6" fmla="*/ 296862 h 458787"/>
                  <a:gd name="connsiteX7" fmla="*/ 897824 w 951344"/>
                  <a:gd name="connsiteY7" fmla="*/ 313269 h 458787"/>
                  <a:gd name="connsiteX8" fmla="*/ 907790 w 951344"/>
                  <a:gd name="connsiteY8" fmla="*/ 322542 h 458787"/>
                  <a:gd name="connsiteX9" fmla="*/ 916332 w 951344"/>
                  <a:gd name="connsiteY9" fmla="*/ 337522 h 458787"/>
                  <a:gd name="connsiteX10" fmla="*/ 923450 w 951344"/>
                  <a:gd name="connsiteY10" fmla="*/ 353928 h 458787"/>
                  <a:gd name="connsiteX11" fmla="*/ 923450 w 951344"/>
                  <a:gd name="connsiteY11" fmla="*/ 355355 h 458787"/>
                  <a:gd name="connsiteX12" fmla="*/ 934127 w 951344"/>
                  <a:gd name="connsiteY12" fmla="*/ 386741 h 458787"/>
                  <a:gd name="connsiteX13" fmla="*/ 951210 w 951344"/>
                  <a:gd name="connsiteY13" fmla="*/ 451654 h 458787"/>
                  <a:gd name="connsiteX14" fmla="*/ 945516 w 951344"/>
                  <a:gd name="connsiteY14" fmla="*/ 458787 h 458787"/>
                  <a:gd name="connsiteX15" fmla="*/ 517004 w 951344"/>
                  <a:gd name="connsiteY15" fmla="*/ 458787 h 458787"/>
                  <a:gd name="connsiteX16" fmla="*/ 512021 w 951344"/>
                  <a:gd name="connsiteY16" fmla="*/ 451654 h 458787"/>
                  <a:gd name="connsiteX17" fmla="*/ 529104 w 951344"/>
                  <a:gd name="connsiteY17" fmla="*/ 386741 h 458787"/>
                  <a:gd name="connsiteX18" fmla="*/ 539070 w 951344"/>
                  <a:gd name="connsiteY18" fmla="*/ 355355 h 458787"/>
                  <a:gd name="connsiteX19" fmla="*/ 539782 w 951344"/>
                  <a:gd name="connsiteY19" fmla="*/ 353928 h 458787"/>
                  <a:gd name="connsiteX20" fmla="*/ 546188 w 951344"/>
                  <a:gd name="connsiteY20" fmla="*/ 337522 h 458787"/>
                  <a:gd name="connsiteX21" fmla="*/ 554730 w 951344"/>
                  <a:gd name="connsiteY21" fmla="*/ 322542 h 458787"/>
                  <a:gd name="connsiteX22" fmla="*/ 565407 w 951344"/>
                  <a:gd name="connsiteY22" fmla="*/ 313269 h 458787"/>
                  <a:gd name="connsiteX23" fmla="*/ 660078 w 951344"/>
                  <a:gd name="connsiteY23" fmla="*/ 296862 h 458787"/>
                  <a:gd name="connsiteX24" fmla="*/ 148191 w 951344"/>
                  <a:gd name="connsiteY24" fmla="*/ 296862 h 458787"/>
                  <a:gd name="connsiteX25" fmla="*/ 178799 w 951344"/>
                  <a:gd name="connsiteY25" fmla="*/ 313269 h 458787"/>
                  <a:gd name="connsiteX26" fmla="*/ 198018 w 951344"/>
                  <a:gd name="connsiteY26" fmla="*/ 318262 h 458787"/>
                  <a:gd name="connsiteX27" fmla="*/ 220084 w 951344"/>
                  <a:gd name="connsiteY27" fmla="*/ 319689 h 458787"/>
                  <a:gd name="connsiteX28" fmla="*/ 242151 w 951344"/>
                  <a:gd name="connsiteY28" fmla="*/ 318262 h 458787"/>
                  <a:gd name="connsiteX29" fmla="*/ 259946 w 951344"/>
                  <a:gd name="connsiteY29" fmla="*/ 313982 h 458787"/>
                  <a:gd name="connsiteX30" fmla="*/ 291266 w 951344"/>
                  <a:gd name="connsiteY30" fmla="*/ 296862 h 458787"/>
                  <a:gd name="connsiteX31" fmla="*/ 385937 w 951344"/>
                  <a:gd name="connsiteY31" fmla="*/ 313269 h 458787"/>
                  <a:gd name="connsiteX32" fmla="*/ 396614 w 951344"/>
                  <a:gd name="connsiteY32" fmla="*/ 322542 h 458787"/>
                  <a:gd name="connsiteX33" fmla="*/ 405156 w 951344"/>
                  <a:gd name="connsiteY33" fmla="*/ 337522 h 458787"/>
                  <a:gd name="connsiteX34" fmla="*/ 411562 w 951344"/>
                  <a:gd name="connsiteY34" fmla="*/ 353928 h 458787"/>
                  <a:gd name="connsiteX35" fmla="*/ 412274 w 951344"/>
                  <a:gd name="connsiteY35" fmla="*/ 355355 h 458787"/>
                  <a:gd name="connsiteX36" fmla="*/ 422240 w 951344"/>
                  <a:gd name="connsiteY36" fmla="*/ 386741 h 458787"/>
                  <a:gd name="connsiteX37" fmla="*/ 439323 w 951344"/>
                  <a:gd name="connsiteY37" fmla="*/ 451654 h 458787"/>
                  <a:gd name="connsiteX38" fmla="*/ 434340 w 951344"/>
                  <a:gd name="connsiteY38" fmla="*/ 458787 h 458787"/>
                  <a:gd name="connsiteX39" fmla="*/ 5828 w 951344"/>
                  <a:gd name="connsiteY39" fmla="*/ 458787 h 458787"/>
                  <a:gd name="connsiteX40" fmla="*/ 134 w 951344"/>
                  <a:gd name="connsiteY40" fmla="*/ 451654 h 458787"/>
                  <a:gd name="connsiteX41" fmla="*/ 17217 w 951344"/>
                  <a:gd name="connsiteY41" fmla="*/ 386741 h 458787"/>
                  <a:gd name="connsiteX42" fmla="*/ 27894 w 951344"/>
                  <a:gd name="connsiteY42" fmla="*/ 355355 h 458787"/>
                  <a:gd name="connsiteX43" fmla="*/ 27894 w 951344"/>
                  <a:gd name="connsiteY43" fmla="*/ 353928 h 458787"/>
                  <a:gd name="connsiteX44" fmla="*/ 33589 w 951344"/>
                  <a:gd name="connsiteY44" fmla="*/ 341088 h 458787"/>
                  <a:gd name="connsiteX45" fmla="*/ 43554 w 951344"/>
                  <a:gd name="connsiteY45" fmla="*/ 322542 h 458787"/>
                  <a:gd name="connsiteX46" fmla="*/ 53520 w 951344"/>
                  <a:gd name="connsiteY46" fmla="*/ 313269 h 458787"/>
                  <a:gd name="connsiteX47" fmla="*/ 148191 w 951344"/>
                  <a:gd name="connsiteY47" fmla="*/ 296862 h 458787"/>
                  <a:gd name="connsiteX48" fmla="*/ 731260 w 951344"/>
                  <a:gd name="connsiteY48" fmla="*/ 0 h 458787"/>
                  <a:gd name="connsiteX49" fmla="*/ 851910 w 951344"/>
                  <a:gd name="connsiteY49" fmla="*/ 123188 h 458787"/>
                  <a:gd name="connsiteX50" fmla="*/ 849055 w 951344"/>
                  <a:gd name="connsiteY50" fmla="*/ 142414 h 458787"/>
                  <a:gd name="connsiteX51" fmla="*/ 848341 w 951344"/>
                  <a:gd name="connsiteY51" fmla="*/ 143838 h 458787"/>
                  <a:gd name="connsiteX52" fmla="*/ 842629 w 951344"/>
                  <a:gd name="connsiteY52" fmla="*/ 161640 h 458787"/>
                  <a:gd name="connsiteX53" fmla="*/ 842629 w 951344"/>
                  <a:gd name="connsiteY53" fmla="*/ 162352 h 458787"/>
                  <a:gd name="connsiteX54" fmla="*/ 838346 w 951344"/>
                  <a:gd name="connsiteY54" fmla="*/ 171609 h 458787"/>
                  <a:gd name="connsiteX55" fmla="*/ 826210 w 951344"/>
                  <a:gd name="connsiteY55" fmla="*/ 192971 h 458787"/>
                  <a:gd name="connsiteX56" fmla="*/ 806220 w 951344"/>
                  <a:gd name="connsiteY56" fmla="*/ 216470 h 458787"/>
                  <a:gd name="connsiteX57" fmla="*/ 796940 w 951344"/>
                  <a:gd name="connsiteY57" fmla="*/ 238544 h 458787"/>
                  <a:gd name="connsiteX58" fmla="*/ 791228 w 951344"/>
                  <a:gd name="connsiteY58" fmla="*/ 244952 h 458787"/>
                  <a:gd name="connsiteX59" fmla="*/ 770525 w 951344"/>
                  <a:gd name="connsiteY59" fmla="*/ 258482 h 458787"/>
                  <a:gd name="connsiteX60" fmla="*/ 731260 w 951344"/>
                  <a:gd name="connsiteY60" fmla="*/ 269875 h 458787"/>
                  <a:gd name="connsiteX61" fmla="*/ 691995 w 951344"/>
                  <a:gd name="connsiteY61" fmla="*/ 257770 h 458787"/>
                  <a:gd name="connsiteX62" fmla="*/ 671292 w 951344"/>
                  <a:gd name="connsiteY62" fmla="*/ 244240 h 458787"/>
                  <a:gd name="connsiteX63" fmla="*/ 665581 w 951344"/>
                  <a:gd name="connsiteY63" fmla="*/ 238544 h 458787"/>
                  <a:gd name="connsiteX64" fmla="*/ 656300 w 951344"/>
                  <a:gd name="connsiteY64" fmla="*/ 216470 h 458787"/>
                  <a:gd name="connsiteX65" fmla="*/ 637025 w 951344"/>
                  <a:gd name="connsiteY65" fmla="*/ 192971 h 458787"/>
                  <a:gd name="connsiteX66" fmla="*/ 624174 w 951344"/>
                  <a:gd name="connsiteY66" fmla="*/ 171609 h 458787"/>
                  <a:gd name="connsiteX67" fmla="*/ 619177 w 951344"/>
                  <a:gd name="connsiteY67" fmla="*/ 159504 h 458787"/>
                  <a:gd name="connsiteX68" fmla="*/ 619177 w 951344"/>
                  <a:gd name="connsiteY68" fmla="*/ 158080 h 458787"/>
                  <a:gd name="connsiteX69" fmla="*/ 610610 w 951344"/>
                  <a:gd name="connsiteY69" fmla="*/ 123188 h 458787"/>
                  <a:gd name="connsiteX70" fmla="*/ 731260 w 951344"/>
                  <a:gd name="connsiteY70" fmla="*/ 0 h 458787"/>
                  <a:gd name="connsiteX71" fmla="*/ 220085 w 951344"/>
                  <a:gd name="connsiteY71" fmla="*/ 0 h 458787"/>
                  <a:gd name="connsiteX72" fmla="*/ 340735 w 951344"/>
                  <a:gd name="connsiteY72" fmla="*/ 123188 h 458787"/>
                  <a:gd name="connsiteX73" fmla="*/ 331454 w 951344"/>
                  <a:gd name="connsiteY73" fmla="*/ 161640 h 458787"/>
                  <a:gd name="connsiteX74" fmla="*/ 331454 w 951344"/>
                  <a:gd name="connsiteY74" fmla="*/ 162352 h 458787"/>
                  <a:gd name="connsiteX75" fmla="*/ 327171 w 951344"/>
                  <a:gd name="connsiteY75" fmla="*/ 171609 h 458787"/>
                  <a:gd name="connsiteX76" fmla="*/ 315034 w 951344"/>
                  <a:gd name="connsiteY76" fmla="*/ 192971 h 458787"/>
                  <a:gd name="connsiteX77" fmla="*/ 295045 w 951344"/>
                  <a:gd name="connsiteY77" fmla="*/ 216470 h 458787"/>
                  <a:gd name="connsiteX78" fmla="*/ 285764 w 951344"/>
                  <a:gd name="connsiteY78" fmla="*/ 238544 h 458787"/>
                  <a:gd name="connsiteX79" fmla="*/ 279339 w 951344"/>
                  <a:gd name="connsiteY79" fmla="*/ 244952 h 458787"/>
                  <a:gd name="connsiteX80" fmla="*/ 259350 w 951344"/>
                  <a:gd name="connsiteY80" fmla="*/ 258482 h 458787"/>
                  <a:gd name="connsiteX81" fmla="*/ 220085 w 951344"/>
                  <a:gd name="connsiteY81" fmla="*/ 269875 h 458787"/>
                  <a:gd name="connsiteX82" fmla="*/ 180106 w 951344"/>
                  <a:gd name="connsiteY82" fmla="*/ 257770 h 458787"/>
                  <a:gd name="connsiteX83" fmla="*/ 159403 w 951344"/>
                  <a:gd name="connsiteY83" fmla="*/ 244240 h 458787"/>
                  <a:gd name="connsiteX84" fmla="*/ 154405 w 951344"/>
                  <a:gd name="connsiteY84" fmla="*/ 238544 h 458787"/>
                  <a:gd name="connsiteX85" fmla="*/ 145125 w 951344"/>
                  <a:gd name="connsiteY85" fmla="*/ 216470 h 458787"/>
                  <a:gd name="connsiteX86" fmla="*/ 125849 w 951344"/>
                  <a:gd name="connsiteY86" fmla="*/ 192971 h 458787"/>
                  <a:gd name="connsiteX87" fmla="*/ 112999 w 951344"/>
                  <a:gd name="connsiteY87" fmla="*/ 171609 h 458787"/>
                  <a:gd name="connsiteX88" fmla="*/ 108002 w 951344"/>
                  <a:gd name="connsiteY88" fmla="*/ 159504 h 458787"/>
                  <a:gd name="connsiteX89" fmla="*/ 107288 w 951344"/>
                  <a:gd name="connsiteY89" fmla="*/ 158080 h 458787"/>
                  <a:gd name="connsiteX90" fmla="*/ 99435 w 951344"/>
                  <a:gd name="connsiteY90" fmla="*/ 123188 h 458787"/>
                  <a:gd name="connsiteX91" fmla="*/ 220085 w 951344"/>
                  <a:gd name="connsiteY91" fmla="*/ 0 h 458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951344" h="458787">
                    <a:moveTo>
                      <a:pt x="660078" y="296862"/>
                    </a:moveTo>
                    <a:cubicBezTo>
                      <a:pt x="660078" y="296862"/>
                      <a:pt x="670756" y="306849"/>
                      <a:pt x="691398" y="313982"/>
                    </a:cubicBezTo>
                    <a:cubicBezTo>
                      <a:pt x="696381" y="315409"/>
                      <a:pt x="702787" y="316835"/>
                      <a:pt x="709193" y="318262"/>
                    </a:cubicBezTo>
                    <a:cubicBezTo>
                      <a:pt x="716312" y="318975"/>
                      <a:pt x="723430" y="319689"/>
                      <a:pt x="731260" y="319689"/>
                    </a:cubicBezTo>
                    <a:cubicBezTo>
                      <a:pt x="739090" y="319689"/>
                      <a:pt x="746920" y="318975"/>
                      <a:pt x="753326" y="318262"/>
                    </a:cubicBezTo>
                    <a:cubicBezTo>
                      <a:pt x="759732" y="316835"/>
                      <a:pt x="766139" y="315409"/>
                      <a:pt x="771121" y="313982"/>
                    </a:cubicBezTo>
                    <a:cubicBezTo>
                      <a:pt x="792476" y="306849"/>
                      <a:pt x="803153" y="296862"/>
                      <a:pt x="803153" y="296862"/>
                    </a:cubicBezTo>
                    <a:cubicBezTo>
                      <a:pt x="803153" y="296862"/>
                      <a:pt x="864369" y="297575"/>
                      <a:pt x="897824" y="313269"/>
                    </a:cubicBezTo>
                    <a:cubicBezTo>
                      <a:pt x="901383" y="314695"/>
                      <a:pt x="904231" y="318262"/>
                      <a:pt x="907790" y="322542"/>
                    </a:cubicBezTo>
                    <a:cubicBezTo>
                      <a:pt x="910637" y="326822"/>
                      <a:pt x="913484" y="331815"/>
                      <a:pt x="916332" y="337522"/>
                    </a:cubicBezTo>
                    <a:cubicBezTo>
                      <a:pt x="918467" y="342515"/>
                      <a:pt x="921314" y="348222"/>
                      <a:pt x="923450" y="353928"/>
                    </a:cubicBezTo>
                    <a:cubicBezTo>
                      <a:pt x="923450" y="354642"/>
                      <a:pt x="923450" y="355355"/>
                      <a:pt x="923450" y="355355"/>
                    </a:cubicBezTo>
                    <a:cubicBezTo>
                      <a:pt x="927721" y="365341"/>
                      <a:pt x="930568" y="376041"/>
                      <a:pt x="934127" y="386741"/>
                    </a:cubicBezTo>
                    <a:cubicBezTo>
                      <a:pt x="941957" y="415274"/>
                      <a:pt x="947651" y="443094"/>
                      <a:pt x="951210" y="451654"/>
                    </a:cubicBezTo>
                    <a:cubicBezTo>
                      <a:pt x="951922" y="455221"/>
                      <a:pt x="949787" y="458787"/>
                      <a:pt x="945516" y="458787"/>
                    </a:cubicBezTo>
                    <a:cubicBezTo>
                      <a:pt x="945516" y="458787"/>
                      <a:pt x="945516" y="458787"/>
                      <a:pt x="517004" y="458787"/>
                    </a:cubicBezTo>
                    <a:cubicBezTo>
                      <a:pt x="513445" y="458787"/>
                      <a:pt x="510597" y="455221"/>
                      <a:pt x="512021" y="451654"/>
                    </a:cubicBezTo>
                    <a:cubicBezTo>
                      <a:pt x="514868" y="443094"/>
                      <a:pt x="520563" y="415274"/>
                      <a:pt x="529104" y="386741"/>
                    </a:cubicBezTo>
                    <a:cubicBezTo>
                      <a:pt x="531952" y="376041"/>
                      <a:pt x="535511" y="365341"/>
                      <a:pt x="539070" y="355355"/>
                    </a:cubicBezTo>
                    <a:cubicBezTo>
                      <a:pt x="539070" y="355355"/>
                      <a:pt x="539070" y="354642"/>
                      <a:pt x="539782" y="353928"/>
                    </a:cubicBezTo>
                    <a:cubicBezTo>
                      <a:pt x="541917" y="348222"/>
                      <a:pt x="544053" y="342515"/>
                      <a:pt x="546188" y="337522"/>
                    </a:cubicBezTo>
                    <a:cubicBezTo>
                      <a:pt x="549035" y="331815"/>
                      <a:pt x="551882" y="326822"/>
                      <a:pt x="554730" y="322542"/>
                    </a:cubicBezTo>
                    <a:cubicBezTo>
                      <a:pt x="558289" y="318262"/>
                      <a:pt x="561848" y="314695"/>
                      <a:pt x="565407" y="313269"/>
                    </a:cubicBezTo>
                    <a:cubicBezTo>
                      <a:pt x="598150" y="297575"/>
                      <a:pt x="660078" y="296862"/>
                      <a:pt x="660078" y="296862"/>
                    </a:cubicBezTo>
                    <a:close/>
                    <a:moveTo>
                      <a:pt x="148191" y="296862"/>
                    </a:moveTo>
                    <a:cubicBezTo>
                      <a:pt x="148191" y="296862"/>
                      <a:pt x="158868" y="306849"/>
                      <a:pt x="178799" y="313269"/>
                    </a:cubicBezTo>
                    <a:cubicBezTo>
                      <a:pt x="184494" y="315409"/>
                      <a:pt x="190900" y="316835"/>
                      <a:pt x="198018" y="318262"/>
                    </a:cubicBezTo>
                    <a:cubicBezTo>
                      <a:pt x="204424" y="318975"/>
                      <a:pt x="212254" y="319689"/>
                      <a:pt x="220084" y="319689"/>
                    </a:cubicBezTo>
                    <a:cubicBezTo>
                      <a:pt x="227914" y="319689"/>
                      <a:pt x="235032" y="318975"/>
                      <a:pt x="242151" y="318262"/>
                    </a:cubicBezTo>
                    <a:cubicBezTo>
                      <a:pt x="248557" y="316835"/>
                      <a:pt x="254963" y="315409"/>
                      <a:pt x="259946" y="313982"/>
                    </a:cubicBezTo>
                    <a:cubicBezTo>
                      <a:pt x="280588" y="306849"/>
                      <a:pt x="291266" y="296862"/>
                      <a:pt x="291266" y="296862"/>
                    </a:cubicBezTo>
                    <a:cubicBezTo>
                      <a:pt x="291266" y="296862"/>
                      <a:pt x="353194" y="297575"/>
                      <a:pt x="385937" y="313269"/>
                    </a:cubicBezTo>
                    <a:cubicBezTo>
                      <a:pt x="389496" y="314695"/>
                      <a:pt x="393055" y="318262"/>
                      <a:pt x="396614" y="322542"/>
                    </a:cubicBezTo>
                    <a:cubicBezTo>
                      <a:pt x="399462" y="326822"/>
                      <a:pt x="402309" y="331815"/>
                      <a:pt x="405156" y="337522"/>
                    </a:cubicBezTo>
                    <a:cubicBezTo>
                      <a:pt x="407291" y="342515"/>
                      <a:pt x="409427" y="348222"/>
                      <a:pt x="411562" y="353928"/>
                    </a:cubicBezTo>
                    <a:cubicBezTo>
                      <a:pt x="412274" y="354642"/>
                      <a:pt x="412274" y="355355"/>
                      <a:pt x="412274" y="355355"/>
                    </a:cubicBezTo>
                    <a:cubicBezTo>
                      <a:pt x="415833" y="365341"/>
                      <a:pt x="419392" y="376041"/>
                      <a:pt x="422240" y="386741"/>
                    </a:cubicBezTo>
                    <a:cubicBezTo>
                      <a:pt x="430781" y="415274"/>
                      <a:pt x="436476" y="443094"/>
                      <a:pt x="439323" y="451654"/>
                    </a:cubicBezTo>
                    <a:cubicBezTo>
                      <a:pt x="440747" y="455221"/>
                      <a:pt x="437900" y="458787"/>
                      <a:pt x="434340" y="458787"/>
                    </a:cubicBezTo>
                    <a:cubicBezTo>
                      <a:pt x="434340" y="458787"/>
                      <a:pt x="434340" y="458787"/>
                      <a:pt x="5828" y="458787"/>
                    </a:cubicBezTo>
                    <a:cubicBezTo>
                      <a:pt x="1557" y="458787"/>
                      <a:pt x="-578" y="455221"/>
                      <a:pt x="134" y="451654"/>
                    </a:cubicBezTo>
                    <a:cubicBezTo>
                      <a:pt x="3693" y="443094"/>
                      <a:pt x="9387" y="415274"/>
                      <a:pt x="17217" y="386741"/>
                    </a:cubicBezTo>
                    <a:cubicBezTo>
                      <a:pt x="20776" y="376041"/>
                      <a:pt x="23623" y="365341"/>
                      <a:pt x="27894" y="355355"/>
                    </a:cubicBezTo>
                    <a:cubicBezTo>
                      <a:pt x="27894" y="355355"/>
                      <a:pt x="27894" y="354642"/>
                      <a:pt x="27894" y="353928"/>
                    </a:cubicBezTo>
                    <a:cubicBezTo>
                      <a:pt x="30030" y="349648"/>
                      <a:pt x="31453" y="345368"/>
                      <a:pt x="33589" y="341088"/>
                    </a:cubicBezTo>
                    <a:cubicBezTo>
                      <a:pt x="36436" y="333955"/>
                      <a:pt x="39995" y="327535"/>
                      <a:pt x="43554" y="322542"/>
                    </a:cubicBezTo>
                    <a:cubicBezTo>
                      <a:pt x="47113" y="318262"/>
                      <a:pt x="49961" y="314695"/>
                      <a:pt x="53520" y="313269"/>
                    </a:cubicBezTo>
                    <a:cubicBezTo>
                      <a:pt x="86975" y="297575"/>
                      <a:pt x="148191" y="296862"/>
                      <a:pt x="148191" y="296862"/>
                    </a:cubicBezTo>
                    <a:close/>
                    <a:moveTo>
                      <a:pt x="731260" y="0"/>
                    </a:moveTo>
                    <a:cubicBezTo>
                      <a:pt x="799795" y="0"/>
                      <a:pt x="851910" y="55541"/>
                      <a:pt x="851910" y="123188"/>
                    </a:cubicBezTo>
                    <a:cubicBezTo>
                      <a:pt x="851910" y="129597"/>
                      <a:pt x="850482" y="136005"/>
                      <a:pt x="849055" y="142414"/>
                    </a:cubicBezTo>
                    <a:cubicBezTo>
                      <a:pt x="849055" y="143126"/>
                      <a:pt x="848341" y="143126"/>
                      <a:pt x="848341" y="143838"/>
                    </a:cubicBezTo>
                    <a:cubicBezTo>
                      <a:pt x="846913" y="150247"/>
                      <a:pt x="844771" y="155943"/>
                      <a:pt x="842629" y="161640"/>
                    </a:cubicBezTo>
                    <a:cubicBezTo>
                      <a:pt x="842629" y="161640"/>
                      <a:pt x="842629" y="161640"/>
                      <a:pt x="842629" y="162352"/>
                    </a:cubicBezTo>
                    <a:cubicBezTo>
                      <a:pt x="842629" y="163776"/>
                      <a:pt x="841202" y="167337"/>
                      <a:pt x="838346" y="171609"/>
                    </a:cubicBezTo>
                    <a:cubicBezTo>
                      <a:pt x="835490" y="178018"/>
                      <a:pt x="831207" y="185850"/>
                      <a:pt x="826210" y="192971"/>
                    </a:cubicBezTo>
                    <a:cubicBezTo>
                      <a:pt x="819785" y="202940"/>
                      <a:pt x="811932" y="212197"/>
                      <a:pt x="806220" y="216470"/>
                    </a:cubicBezTo>
                    <a:cubicBezTo>
                      <a:pt x="799081" y="234983"/>
                      <a:pt x="803365" y="227863"/>
                      <a:pt x="796940" y="238544"/>
                    </a:cubicBezTo>
                    <a:cubicBezTo>
                      <a:pt x="795512" y="240680"/>
                      <a:pt x="793370" y="242816"/>
                      <a:pt x="791228" y="244952"/>
                    </a:cubicBezTo>
                    <a:cubicBezTo>
                      <a:pt x="786231" y="249225"/>
                      <a:pt x="779092" y="254209"/>
                      <a:pt x="770525" y="258482"/>
                    </a:cubicBezTo>
                    <a:cubicBezTo>
                      <a:pt x="757675" y="264890"/>
                      <a:pt x="742683" y="269875"/>
                      <a:pt x="731260" y="269875"/>
                    </a:cubicBezTo>
                    <a:cubicBezTo>
                      <a:pt x="719838" y="269875"/>
                      <a:pt x="704846" y="264178"/>
                      <a:pt x="691995" y="257770"/>
                    </a:cubicBezTo>
                    <a:cubicBezTo>
                      <a:pt x="683429" y="253497"/>
                      <a:pt x="676290" y="248513"/>
                      <a:pt x="671292" y="244240"/>
                    </a:cubicBezTo>
                    <a:cubicBezTo>
                      <a:pt x="669150" y="242104"/>
                      <a:pt x="667009" y="239968"/>
                      <a:pt x="665581" y="238544"/>
                    </a:cubicBezTo>
                    <a:cubicBezTo>
                      <a:pt x="659870" y="229999"/>
                      <a:pt x="663439" y="234983"/>
                      <a:pt x="656300" y="216470"/>
                    </a:cubicBezTo>
                    <a:cubicBezTo>
                      <a:pt x="652017" y="213621"/>
                      <a:pt x="644164" y="203652"/>
                      <a:pt x="637025" y="192971"/>
                    </a:cubicBezTo>
                    <a:cubicBezTo>
                      <a:pt x="632027" y="185850"/>
                      <a:pt x="627744" y="178730"/>
                      <a:pt x="624174" y="171609"/>
                    </a:cubicBezTo>
                    <a:cubicBezTo>
                      <a:pt x="621319" y="166625"/>
                      <a:pt x="619177" y="162352"/>
                      <a:pt x="619177" y="159504"/>
                    </a:cubicBezTo>
                    <a:cubicBezTo>
                      <a:pt x="619177" y="158792"/>
                      <a:pt x="619177" y="158792"/>
                      <a:pt x="619177" y="158080"/>
                    </a:cubicBezTo>
                    <a:cubicBezTo>
                      <a:pt x="616321" y="147399"/>
                      <a:pt x="610610" y="135293"/>
                      <a:pt x="610610" y="123188"/>
                    </a:cubicBezTo>
                    <a:cubicBezTo>
                      <a:pt x="610610" y="55541"/>
                      <a:pt x="663439" y="0"/>
                      <a:pt x="731260" y="0"/>
                    </a:cubicBezTo>
                    <a:close/>
                    <a:moveTo>
                      <a:pt x="220085" y="0"/>
                    </a:moveTo>
                    <a:cubicBezTo>
                      <a:pt x="287906" y="0"/>
                      <a:pt x="340735" y="55541"/>
                      <a:pt x="340735" y="123188"/>
                    </a:cubicBezTo>
                    <a:cubicBezTo>
                      <a:pt x="340735" y="136718"/>
                      <a:pt x="335024" y="149535"/>
                      <a:pt x="331454" y="161640"/>
                    </a:cubicBezTo>
                    <a:cubicBezTo>
                      <a:pt x="331454" y="161640"/>
                      <a:pt x="331454" y="161640"/>
                      <a:pt x="331454" y="162352"/>
                    </a:cubicBezTo>
                    <a:cubicBezTo>
                      <a:pt x="331454" y="163776"/>
                      <a:pt x="330026" y="167337"/>
                      <a:pt x="327171" y="171609"/>
                    </a:cubicBezTo>
                    <a:cubicBezTo>
                      <a:pt x="324315" y="178018"/>
                      <a:pt x="320032" y="185850"/>
                      <a:pt x="315034" y="192971"/>
                    </a:cubicBezTo>
                    <a:cubicBezTo>
                      <a:pt x="307895" y="202940"/>
                      <a:pt x="300756" y="212197"/>
                      <a:pt x="295045" y="216470"/>
                    </a:cubicBezTo>
                    <a:cubicBezTo>
                      <a:pt x="287192" y="234983"/>
                      <a:pt x="291475" y="227863"/>
                      <a:pt x="285764" y="238544"/>
                    </a:cubicBezTo>
                    <a:cubicBezTo>
                      <a:pt x="284336" y="240680"/>
                      <a:pt x="282195" y="242816"/>
                      <a:pt x="279339" y="244952"/>
                    </a:cubicBezTo>
                    <a:cubicBezTo>
                      <a:pt x="274342" y="249225"/>
                      <a:pt x="267203" y="254209"/>
                      <a:pt x="259350" y="258482"/>
                    </a:cubicBezTo>
                    <a:cubicBezTo>
                      <a:pt x="246499" y="264890"/>
                      <a:pt x="231507" y="269875"/>
                      <a:pt x="220085" y="269875"/>
                    </a:cubicBezTo>
                    <a:cubicBezTo>
                      <a:pt x="207948" y="269875"/>
                      <a:pt x="192956" y="264178"/>
                      <a:pt x="180106" y="257770"/>
                    </a:cubicBezTo>
                    <a:cubicBezTo>
                      <a:pt x="172253" y="253497"/>
                      <a:pt x="164400" y="248513"/>
                      <a:pt x="159403" y="244240"/>
                    </a:cubicBezTo>
                    <a:cubicBezTo>
                      <a:pt x="157261" y="242104"/>
                      <a:pt x="155833" y="239968"/>
                      <a:pt x="154405" y="238544"/>
                    </a:cubicBezTo>
                    <a:cubicBezTo>
                      <a:pt x="148694" y="229999"/>
                      <a:pt x="152264" y="234983"/>
                      <a:pt x="145125" y="216470"/>
                    </a:cubicBezTo>
                    <a:cubicBezTo>
                      <a:pt x="140841" y="213621"/>
                      <a:pt x="132988" y="203652"/>
                      <a:pt x="125849" y="192971"/>
                    </a:cubicBezTo>
                    <a:cubicBezTo>
                      <a:pt x="120852" y="185850"/>
                      <a:pt x="115855" y="178730"/>
                      <a:pt x="112999" y="171609"/>
                    </a:cubicBezTo>
                    <a:cubicBezTo>
                      <a:pt x="110143" y="166625"/>
                      <a:pt x="108002" y="162352"/>
                      <a:pt x="108002" y="159504"/>
                    </a:cubicBezTo>
                    <a:cubicBezTo>
                      <a:pt x="107288" y="158792"/>
                      <a:pt x="108002" y="158792"/>
                      <a:pt x="107288" y="158080"/>
                    </a:cubicBezTo>
                    <a:cubicBezTo>
                      <a:pt x="105146" y="147399"/>
                      <a:pt x="99435" y="135293"/>
                      <a:pt x="99435" y="123188"/>
                    </a:cubicBezTo>
                    <a:cubicBezTo>
                      <a:pt x="99435" y="55541"/>
                      <a:pt x="151550" y="0"/>
                      <a:pt x="22008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6752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53D1E8D-CE0D-41DB-8AF3-A336ED5E6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87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53D1E8D-CE0D-41DB-8AF3-A336ED5E6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5">
            <a:extLst>
              <a:ext uri="{FF2B5EF4-FFF2-40B4-BE49-F238E27FC236}">
                <a16:creationId xmlns:a16="http://schemas.microsoft.com/office/drawing/2014/main" id="{B1306D43-E06E-2F41-8067-5D1FED3502B5}"/>
              </a:ext>
            </a:extLst>
          </p:cNvPr>
          <p:cNvSpPr txBox="1">
            <a:spLocks/>
          </p:cNvSpPr>
          <p:nvPr/>
        </p:nvSpPr>
        <p:spPr>
          <a:xfrm>
            <a:off x="4197898" y="858110"/>
            <a:ext cx="5400000" cy="2894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cs typeface="Arial"/>
              </a:rPr>
              <a:t>Setup of our web applic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762867" y="4841538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>
                <a:latin typeface="Arial"/>
                <a:cs typeface="Arial"/>
              </a:rPr>
              <a:t>processing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◻︎ </a:t>
            </a:r>
            <a:r>
              <a:rPr lang="de-DE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5746" y="4571584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520AB9D-23F1-469D-B3D7-1C4B6110A3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7898" y="3261272"/>
            <a:ext cx="5400000" cy="289438"/>
          </a:xfrm>
        </p:spPr>
        <p:txBody>
          <a:bodyPr>
            <a:spAutoFit/>
          </a:bodyPr>
          <a:lstStyle/>
          <a:p>
            <a:r>
              <a:rPr lang="en-US" sz="1800"/>
              <a:t>Challenges we need to tackle</a:t>
            </a:r>
            <a:endParaRPr lang="en-US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04C997D-C381-4BD8-8CD1-0A0C5C008BA0}"/>
              </a:ext>
            </a:extLst>
          </p:cNvPr>
          <p:cNvGrpSpPr>
            <a:grpSpLocks noChangeAspect="1"/>
          </p:cNvGrpSpPr>
          <p:nvPr/>
        </p:nvGrpSpPr>
        <p:grpSpPr>
          <a:xfrm>
            <a:off x="3196794" y="2996920"/>
            <a:ext cx="818141" cy="818141"/>
            <a:chOff x="5273675" y="2606675"/>
            <a:chExt cx="1644650" cy="1644650"/>
          </a:xfrm>
        </p:grpSpPr>
        <p:sp>
          <p:nvSpPr>
            <p:cNvPr id="47" name="AutoShape 3">
              <a:extLst>
                <a:ext uri="{FF2B5EF4-FFF2-40B4-BE49-F238E27FC236}">
                  <a16:creationId xmlns:a16="http://schemas.microsoft.com/office/drawing/2014/main" id="{6ED4E34C-4EEB-432F-B776-682D5780922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B8C8925-6CEC-498B-B7F3-CC1CB356F841}"/>
                </a:ext>
              </a:extLst>
            </p:cNvPr>
            <p:cNvGrpSpPr/>
            <p:nvPr/>
          </p:nvGrpSpPr>
          <p:grpSpPr>
            <a:xfrm>
              <a:off x="5443086" y="2924175"/>
              <a:ext cx="1305829" cy="1009650"/>
              <a:chOff x="5445551" y="2967038"/>
              <a:chExt cx="1305829" cy="1009650"/>
            </a:xfrm>
          </p:grpSpPr>
          <p:sp>
            <p:nvSpPr>
              <p:cNvPr id="49" name="Freeform 5">
                <a:extLst>
                  <a:ext uri="{FF2B5EF4-FFF2-40B4-BE49-F238E27FC236}">
                    <a16:creationId xmlns:a16="http://schemas.microsoft.com/office/drawing/2014/main" id="{AD0C6E4A-2609-4EE6-A3D9-79862FBA8D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551" y="2967038"/>
                <a:ext cx="1305829" cy="1009650"/>
              </a:xfrm>
              <a:custGeom>
                <a:avLst/>
                <a:gdLst>
                  <a:gd name="connsiteX0" fmla="*/ 752057 w 1305829"/>
                  <a:gd name="connsiteY0" fmla="*/ 24218 h 1009650"/>
                  <a:gd name="connsiteX1" fmla="*/ 788431 w 1305829"/>
                  <a:gd name="connsiteY1" fmla="*/ 34246 h 1009650"/>
                  <a:gd name="connsiteX2" fmla="*/ 826851 w 1305829"/>
                  <a:gd name="connsiteY2" fmla="*/ 55733 h 1009650"/>
                  <a:gd name="connsiteX3" fmla="*/ 886614 w 1305829"/>
                  <a:gd name="connsiteY3" fmla="*/ 55733 h 1009650"/>
                  <a:gd name="connsiteX4" fmla="*/ 925034 w 1305829"/>
                  <a:gd name="connsiteY4" fmla="*/ 31381 h 1009650"/>
                  <a:gd name="connsiteX5" fmla="*/ 925745 w 1305829"/>
                  <a:gd name="connsiteY5" fmla="*/ 31381 h 1009650"/>
                  <a:gd name="connsiteX6" fmla="*/ 930726 w 1305829"/>
                  <a:gd name="connsiteY6" fmla="*/ 34962 h 1009650"/>
                  <a:gd name="connsiteX7" fmla="*/ 930726 w 1305829"/>
                  <a:gd name="connsiteY7" fmla="*/ 35678 h 1009650"/>
                  <a:gd name="connsiteX8" fmla="*/ 931437 w 1305829"/>
                  <a:gd name="connsiteY8" fmla="*/ 191820 h 1009650"/>
                  <a:gd name="connsiteX9" fmla="*/ 927880 w 1305829"/>
                  <a:gd name="connsiteY9" fmla="*/ 198982 h 1009650"/>
                  <a:gd name="connsiteX10" fmla="*/ 876654 w 1305829"/>
                  <a:gd name="connsiteY10" fmla="*/ 228348 h 1009650"/>
                  <a:gd name="connsiteX11" fmla="*/ 826851 w 1305829"/>
                  <a:gd name="connsiteY11" fmla="*/ 224051 h 1009650"/>
                  <a:gd name="connsiteX12" fmla="*/ 792700 w 1305829"/>
                  <a:gd name="connsiteY12" fmla="*/ 205429 h 1009650"/>
                  <a:gd name="connsiteX13" fmla="*/ 705900 w 1305829"/>
                  <a:gd name="connsiteY13" fmla="*/ 203996 h 1009650"/>
                  <a:gd name="connsiteX14" fmla="*/ 698074 w 1305829"/>
                  <a:gd name="connsiteY14" fmla="*/ 208294 h 1009650"/>
                  <a:gd name="connsiteX15" fmla="*/ 698074 w 1305829"/>
                  <a:gd name="connsiteY15" fmla="*/ 39976 h 1009650"/>
                  <a:gd name="connsiteX16" fmla="*/ 715150 w 1305829"/>
                  <a:gd name="connsiteY16" fmla="*/ 31381 h 1009650"/>
                  <a:gd name="connsiteX17" fmla="*/ 752057 w 1305829"/>
                  <a:gd name="connsiteY17" fmla="*/ 24218 h 1009650"/>
                  <a:gd name="connsiteX18" fmla="*/ 651404 w 1305829"/>
                  <a:gd name="connsiteY18" fmla="*/ 0 h 1009650"/>
                  <a:gd name="connsiteX19" fmla="*/ 666387 w 1305829"/>
                  <a:gd name="connsiteY19" fmla="*/ 14984 h 1009650"/>
                  <a:gd name="connsiteX20" fmla="*/ 666387 w 1305829"/>
                  <a:gd name="connsiteY20" fmla="*/ 376032 h 1009650"/>
                  <a:gd name="connsiteX21" fmla="*/ 682085 w 1305829"/>
                  <a:gd name="connsiteY21" fmla="*/ 380314 h 1009650"/>
                  <a:gd name="connsiteX22" fmla="*/ 697782 w 1305829"/>
                  <a:gd name="connsiteY22" fmla="*/ 388162 h 1009650"/>
                  <a:gd name="connsiteX23" fmla="*/ 723468 w 1305829"/>
                  <a:gd name="connsiteY23" fmla="*/ 413850 h 1009650"/>
                  <a:gd name="connsiteX24" fmla="*/ 868311 w 1305829"/>
                  <a:gd name="connsiteY24" fmla="*/ 663586 h 1009650"/>
                  <a:gd name="connsiteX25" fmla="*/ 901847 w 1305829"/>
                  <a:gd name="connsiteY25" fmla="*/ 618634 h 1009650"/>
                  <a:gd name="connsiteX26" fmla="*/ 966776 w 1305829"/>
                  <a:gd name="connsiteY26" fmla="*/ 587238 h 1009650"/>
                  <a:gd name="connsiteX27" fmla="*/ 1030279 w 1305829"/>
                  <a:gd name="connsiteY27" fmla="*/ 617920 h 1009650"/>
                  <a:gd name="connsiteX28" fmla="*/ 1285003 w 1305829"/>
                  <a:gd name="connsiteY28" fmla="*/ 944005 h 1009650"/>
                  <a:gd name="connsiteX29" fmla="*/ 1304268 w 1305829"/>
                  <a:gd name="connsiteY29" fmla="*/ 1009650 h 1009650"/>
                  <a:gd name="connsiteX30" fmla="*/ 1287857 w 1305829"/>
                  <a:gd name="connsiteY30" fmla="*/ 1009650 h 1009650"/>
                  <a:gd name="connsiteX31" fmla="*/ 1285805 w 1305829"/>
                  <a:gd name="connsiteY31" fmla="*/ 1009650 h 1009650"/>
                  <a:gd name="connsiteX32" fmla="*/ 1272160 w 1305829"/>
                  <a:gd name="connsiteY32" fmla="*/ 1009650 h 1009650"/>
                  <a:gd name="connsiteX33" fmla="*/ 1273587 w 1305829"/>
                  <a:gd name="connsiteY33" fmla="*/ 1004655 h 1009650"/>
                  <a:gd name="connsiteX34" fmla="*/ 1273587 w 1305829"/>
                  <a:gd name="connsiteY34" fmla="*/ 1001088 h 1009650"/>
                  <a:gd name="connsiteX35" fmla="*/ 1274300 w 1305829"/>
                  <a:gd name="connsiteY35" fmla="*/ 998234 h 1009650"/>
                  <a:gd name="connsiteX36" fmla="*/ 1274300 w 1305829"/>
                  <a:gd name="connsiteY36" fmla="*/ 994666 h 1009650"/>
                  <a:gd name="connsiteX37" fmla="*/ 1274300 w 1305829"/>
                  <a:gd name="connsiteY37" fmla="*/ 991098 h 1009650"/>
                  <a:gd name="connsiteX38" fmla="*/ 1260743 w 1305829"/>
                  <a:gd name="connsiteY38" fmla="*/ 965411 h 1009650"/>
                  <a:gd name="connsiteX39" fmla="*/ 1006019 w 1305829"/>
                  <a:gd name="connsiteY39" fmla="*/ 637186 h 1009650"/>
                  <a:gd name="connsiteX40" fmla="*/ 1002452 w 1305829"/>
                  <a:gd name="connsiteY40" fmla="*/ 633618 h 1009650"/>
                  <a:gd name="connsiteX41" fmla="*/ 1002452 w 1305829"/>
                  <a:gd name="connsiteY41" fmla="*/ 632904 h 1009650"/>
                  <a:gd name="connsiteX42" fmla="*/ 1000311 w 1305829"/>
                  <a:gd name="connsiteY42" fmla="*/ 631477 h 1009650"/>
                  <a:gd name="connsiteX43" fmla="*/ 983901 w 1305829"/>
                  <a:gd name="connsiteY43" fmla="*/ 621488 h 1009650"/>
                  <a:gd name="connsiteX44" fmla="*/ 966776 w 1305829"/>
                  <a:gd name="connsiteY44" fmla="*/ 618634 h 1009650"/>
                  <a:gd name="connsiteX45" fmla="*/ 927533 w 1305829"/>
                  <a:gd name="connsiteY45" fmla="*/ 637899 h 1009650"/>
                  <a:gd name="connsiteX46" fmla="*/ 918971 w 1305829"/>
                  <a:gd name="connsiteY46" fmla="*/ 649316 h 1009650"/>
                  <a:gd name="connsiteX47" fmla="*/ 865457 w 1305829"/>
                  <a:gd name="connsiteY47" fmla="*/ 719956 h 1009650"/>
                  <a:gd name="connsiteX48" fmla="*/ 809803 w 1305829"/>
                  <a:gd name="connsiteY48" fmla="*/ 625056 h 1009650"/>
                  <a:gd name="connsiteX49" fmla="*/ 697782 w 1305829"/>
                  <a:gd name="connsiteY49" fmla="*/ 432401 h 1009650"/>
                  <a:gd name="connsiteX50" fmla="*/ 696355 w 1305829"/>
                  <a:gd name="connsiteY50" fmla="*/ 429547 h 1009650"/>
                  <a:gd name="connsiteX51" fmla="*/ 682085 w 1305829"/>
                  <a:gd name="connsiteY51" fmla="*/ 415277 h 1009650"/>
                  <a:gd name="connsiteX52" fmla="*/ 681371 w 1305829"/>
                  <a:gd name="connsiteY52" fmla="*/ 414563 h 1009650"/>
                  <a:gd name="connsiteX53" fmla="*/ 666387 w 1305829"/>
                  <a:gd name="connsiteY53" fmla="*/ 408141 h 1009650"/>
                  <a:gd name="connsiteX54" fmla="*/ 654258 w 1305829"/>
                  <a:gd name="connsiteY54" fmla="*/ 406714 h 1009650"/>
                  <a:gd name="connsiteX55" fmla="*/ 636420 w 1305829"/>
                  <a:gd name="connsiteY55" fmla="*/ 409568 h 1009650"/>
                  <a:gd name="connsiteX56" fmla="*/ 620723 w 1305829"/>
                  <a:gd name="connsiteY56" fmla="*/ 418844 h 1009650"/>
                  <a:gd name="connsiteX57" fmla="*/ 615728 w 1305829"/>
                  <a:gd name="connsiteY57" fmla="*/ 424553 h 1009650"/>
                  <a:gd name="connsiteX58" fmla="*/ 609306 w 1305829"/>
                  <a:gd name="connsiteY58" fmla="*/ 433829 h 1009650"/>
                  <a:gd name="connsiteX59" fmla="*/ 605025 w 1305829"/>
                  <a:gd name="connsiteY59" fmla="*/ 444532 h 1009650"/>
                  <a:gd name="connsiteX60" fmla="*/ 494431 w 1305829"/>
                  <a:gd name="connsiteY60" fmla="*/ 690701 h 1009650"/>
                  <a:gd name="connsiteX61" fmla="*/ 477307 w 1305829"/>
                  <a:gd name="connsiteY61" fmla="*/ 728518 h 1009650"/>
                  <a:gd name="connsiteX62" fmla="*/ 469458 w 1305829"/>
                  <a:gd name="connsiteY62" fmla="*/ 724237 h 1009650"/>
                  <a:gd name="connsiteX63" fmla="*/ 410236 w 1305829"/>
                  <a:gd name="connsiteY63" fmla="*/ 686419 h 1009650"/>
                  <a:gd name="connsiteX64" fmla="*/ 409523 w 1305829"/>
                  <a:gd name="connsiteY64" fmla="*/ 686419 h 1009650"/>
                  <a:gd name="connsiteX65" fmla="*/ 400247 w 1305829"/>
                  <a:gd name="connsiteY65" fmla="*/ 681425 h 1009650"/>
                  <a:gd name="connsiteX66" fmla="*/ 382409 w 1305829"/>
                  <a:gd name="connsiteY66" fmla="*/ 678571 h 1009650"/>
                  <a:gd name="connsiteX67" fmla="*/ 348161 w 1305829"/>
                  <a:gd name="connsiteY67" fmla="*/ 691414 h 1009650"/>
                  <a:gd name="connsiteX68" fmla="*/ 70605 w 1305829"/>
                  <a:gd name="connsiteY68" fmla="*/ 941151 h 1009650"/>
                  <a:gd name="connsiteX69" fmla="*/ 45632 w 1305829"/>
                  <a:gd name="connsiteY69" fmla="*/ 963270 h 1009650"/>
                  <a:gd name="connsiteX70" fmla="*/ 31361 w 1305829"/>
                  <a:gd name="connsiteY70" fmla="*/ 998234 h 1009650"/>
                  <a:gd name="connsiteX71" fmla="*/ 33502 w 1305829"/>
                  <a:gd name="connsiteY71" fmla="*/ 1009650 h 1009650"/>
                  <a:gd name="connsiteX72" fmla="*/ 17091 w 1305829"/>
                  <a:gd name="connsiteY72" fmla="*/ 1009650 h 1009650"/>
                  <a:gd name="connsiteX73" fmla="*/ 1394 w 1305829"/>
                  <a:gd name="connsiteY73" fmla="*/ 1009650 h 1009650"/>
                  <a:gd name="connsiteX74" fmla="*/ 24940 w 1305829"/>
                  <a:gd name="connsiteY74" fmla="*/ 939724 h 1009650"/>
                  <a:gd name="connsiteX75" fmla="*/ 327469 w 1305829"/>
                  <a:gd name="connsiteY75" fmla="*/ 667868 h 1009650"/>
                  <a:gd name="connsiteX76" fmla="*/ 382409 w 1305829"/>
                  <a:gd name="connsiteY76" fmla="*/ 647175 h 1009650"/>
                  <a:gd name="connsiteX77" fmla="*/ 425934 w 1305829"/>
                  <a:gd name="connsiteY77" fmla="*/ 659305 h 1009650"/>
                  <a:gd name="connsiteX78" fmla="*/ 426647 w 1305829"/>
                  <a:gd name="connsiteY78" fmla="*/ 659305 h 1009650"/>
                  <a:gd name="connsiteX79" fmla="*/ 463036 w 1305829"/>
                  <a:gd name="connsiteY79" fmla="*/ 682852 h 1009650"/>
                  <a:gd name="connsiteX80" fmla="*/ 580766 w 1305829"/>
                  <a:gd name="connsiteY80" fmla="*/ 420985 h 1009650"/>
                  <a:gd name="connsiteX81" fmla="*/ 605025 w 1305829"/>
                  <a:gd name="connsiteY81" fmla="*/ 391017 h 1009650"/>
                  <a:gd name="connsiteX82" fmla="*/ 620723 w 1305829"/>
                  <a:gd name="connsiteY82" fmla="*/ 382454 h 1009650"/>
                  <a:gd name="connsiteX83" fmla="*/ 636420 w 1305829"/>
                  <a:gd name="connsiteY83" fmla="*/ 376746 h 1009650"/>
                  <a:gd name="connsiteX84" fmla="*/ 636420 w 1305829"/>
                  <a:gd name="connsiteY84" fmla="*/ 14984 h 1009650"/>
                  <a:gd name="connsiteX85" fmla="*/ 651404 w 1305829"/>
                  <a:gd name="connsiteY85" fmla="*/ 0 h 1009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305829" h="1009650">
                    <a:moveTo>
                      <a:pt x="752057" y="24218"/>
                    </a:moveTo>
                    <a:cubicBezTo>
                      <a:pt x="764241" y="24756"/>
                      <a:pt x="776336" y="28158"/>
                      <a:pt x="788431" y="34246"/>
                    </a:cubicBezTo>
                    <a:cubicBezTo>
                      <a:pt x="801238" y="41408"/>
                      <a:pt x="814044" y="48571"/>
                      <a:pt x="826851" y="55733"/>
                    </a:cubicBezTo>
                    <a:cubicBezTo>
                      <a:pt x="846772" y="65761"/>
                      <a:pt x="866693" y="65761"/>
                      <a:pt x="886614" y="55733"/>
                    </a:cubicBezTo>
                    <a:cubicBezTo>
                      <a:pt x="900132" y="48571"/>
                      <a:pt x="912227" y="39976"/>
                      <a:pt x="925034" y="31381"/>
                    </a:cubicBezTo>
                    <a:cubicBezTo>
                      <a:pt x="925034" y="31381"/>
                      <a:pt x="925034" y="31381"/>
                      <a:pt x="925745" y="31381"/>
                    </a:cubicBezTo>
                    <a:cubicBezTo>
                      <a:pt x="927880" y="29948"/>
                      <a:pt x="930726" y="32097"/>
                      <a:pt x="930726" y="34962"/>
                    </a:cubicBezTo>
                    <a:cubicBezTo>
                      <a:pt x="930726" y="34962"/>
                      <a:pt x="930726" y="34962"/>
                      <a:pt x="930726" y="35678"/>
                    </a:cubicBezTo>
                    <a:cubicBezTo>
                      <a:pt x="930726" y="87964"/>
                      <a:pt x="930726" y="139534"/>
                      <a:pt x="931437" y="191820"/>
                    </a:cubicBezTo>
                    <a:cubicBezTo>
                      <a:pt x="931437" y="194685"/>
                      <a:pt x="930014" y="197550"/>
                      <a:pt x="927880" y="198982"/>
                    </a:cubicBezTo>
                    <a:cubicBezTo>
                      <a:pt x="912227" y="210442"/>
                      <a:pt x="895864" y="222618"/>
                      <a:pt x="876654" y="228348"/>
                    </a:cubicBezTo>
                    <a:cubicBezTo>
                      <a:pt x="859579" y="233362"/>
                      <a:pt x="843215" y="231930"/>
                      <a:pt x="826851" y="224051"/>
                    </a:cubicBezTo>
                    <a:cubicBezTo>
                      <a:pt x="815467" y="219037"/>
                      <a:pt x="803372" y="211875"/>
                      <a:pt x="792700" y="205429"/>
                    </a:cubicBezTo>
                    <a:cubicBezTo>
                      <a:pt x="764241" y="188239"/>
                      <a:pt x="735071" y="188955"/>
                      <a:pt x="705900" y="203996"/>
                    </a:cubicBezTo>
                    <a:cubicBezTo>
                      <a:pt x="703766" y="205429"/>
                      <a:pt x="700920" y="206861"/>
                      <a:pt x="698074" y="208294"/>
                    </a:cubicBezTo>
                    <a:cubicBezTo>
                      <a:pt x="698074" y="208294"/>
                      <a:pt x="698074" y="208294"/>
                      <a:pt x="698074" y="39976"/>
                    </a:cubicBezTo>
                    <a:cubicBezTo>
                      <a:pt x="704478" y="36395"/>
                      <a:pt x="711592" y="32813"/>
                      <a:pt x="715150" y="31381"/>
                    </a:cubicBezTo>
                    <a:cubicBezTo>
                      <a:pt x="727601" y="26009"/>
                      <a:pt x="739873" y="23681"/>
                      <a:pt x="752057" y="24218"/>
                    </a:cubicBezTo>
                    <a:close/>
                    <a:moveTo>
                      <a:pt x="651404" y="0"/>
                    </a:moveTo>
                    <a:cubicBezTo>
                      <a:pt x="659252" y="0"/>
                      <a:pt x="666387" y="6422"/>
                      <a:pt x="666387" y="14984"/>
                    </a:cubicBezTo>
                    <a:cubicBezTo>
                      <a:pt x="666387" y="14984"/>
                      <a:pt x="666387" y="79916"/>
                      <a:pt x="666387" y="376032"/>
                    </a:cubicBezTo>
                    <a:cubicBezTo>
                      <a:pt x="672096" y="376746"/>
                      <a:pt x="677090" y="378173"/>
                      <a:pt x="682085" y="380314"/>
                    </a:cubicBezTo>
                    <a:cubicBezTo>
                      <a:pt x="687793" y="382454"/>
                      <a:pt x="692787" y="384595"/>
                      <a:pt x="697782" y="388162"/>
                    </a:cubicBezTo>
                    <a:cubicBezTo>
                      <a:pt x="708485" y="394584"/>
                      <a:pt x="717047" y="403147"/>
                      <a:pt x="723468" y="413850"/>
                    </a:cubicBezTo>
                    <a:cubicBezTo>
                      <a:pt x="723468" y="413850"/>
                      <a:pt x="723468" y="413850"/>
                      <a:pt x="868311" y="663586"/>
                    </a:cubicBezTo>
                    <a:cubicBezTo>
                      <a:pt x="868311" y="663586"/>
                      <a:pt x="868311" y="663586"/>
                      <a:pt x="901847" y="618634"/>
                    </a:cubicBezTo>
                    <a:cubicBezTo>
                      <a:pt x="916830" y="599368"/>
                      <a:pt x="941090" y="587238"/>
                      <a:pt x="966776" y="587238"/>
                    </a:cubicBezTo>
                    <a:cubicBezTo>
                      <a:pt x="992463" y="587238"/>
                      <a:pt x="1015295" y="598655"/>
                      <a:pt x="1030279" y="617920"/>
                    </a:cubicBezTo>
                    <a:cubicBezTo>
                      <a:pt x="1030279" y="617920"/>
                      <a:pt x="1030279" y="617920"/>
                      <a:pt x="1285003" y="944005"/>
                    </a:cubicBezTo>
                    <a:cubicBezTo>
                      <a:pt x="1302127" y="961843"/>
                      <a:pt x="1309262" y="986104"/>
                      <a:pt x="1304268" y="1009650"/>
                    </a:cubicBezTo>
                    <a:cubicBezTo>
                      <a:pt x="1304268" y="1009650"/>
                      <a:pt x="1304268" y="1009650"/>
                      <a:pt x="1287857" y="1009650"/>
                    </a:cubicBezTo>
                    <a:cubicBezTo>
                      <a:pt x="1287857" y="1009650"/>
                      <a:pt x="1287857" y="1009650"/>
                      <a:pt x="1285805" y="1009650"/>
                    </a:cubicBezTo>
                    <a:lnTo>
                      <a:pt x="1272160" y="1009650"/>
                    </a:lnTo>
                    <a:cubicBezTo>
                      <a:pt x="1272160" y="1007510"/>
                      <a:pt x="1272873" y="1006082"/>
                      <a:pt x="1273587" y="1004655"/>
                    </a:cubicBezTo>
                    <a:cubicBezTo>
                      <a:pt x="1273587" y="1003228"/>
                      <a:pt x="1273587" y="1002515"/>
                      <a:pt x="1273587" y="1001088"/>
                    </a:cubicBezTo>
                    <a:cubicBezTo>
                      <a:pt x="1274300" y="1000374"/>
                      <a:pt x="1274300" y="998947"/>
                      <a:pt x="1274300" y="998234"/>
                    </a:cubicBezTo>
                    <a:cubicBezTo>
                      <a:pt x="1274300" y="996807"/>
                      <a:pt x="1274300" y="996093"/>
                      <a:pt x="1274300" y="994666"/>
                    </a:cubicBezTo>
                    <a:cubicBezTo>
                      <a:pt x="1274300" y="993239"/>
                      <a:pt x="1274300" y="992525"/>
                      <a:pt x="1274300" y="991098"/>
                    </a:cubicBezTo>
                    <a:cubicBezTo>
                      <a:pt x="1272873" y="981822"/>
                      <a:pt x="1268592" y="972546"/>
                      <a:pt x="1260743" y="965411"/>
                    </a:cubicBezTo>
                    <a:cubicBezTo>
                      <a:pt x="1260743" y="965411"/>
                      <a:pt x="1260743" y="965411"/>
                      <a:pt x="1006019" y="637186"/>
                    </a:cubicBezTo>
                    <a:cubicBezTo>
                      <a:pt x="1004592" y="635759"/>
                      <a:pt x="1003879" y="634331"/>
                      <a:pt x="1002452" y="633618"/>
                    </a:cubicBezTo>
                    <a:cubicBezTo>
                      <a:pt x="1002452" y="633618"/>
                      <a:pt x="1002452" y="632904"/>
                      <a:pt x="1002452" y="632904"/>
                    </a:cubicBezTo>
                    <a:cubicBezTo>
                      <a:pt x="1001738" y="632904"/>
                      <a:pt x="1001025" y="632191"/>
                      <a:pt x="1000311" y="631477"/>
                    </a:cubicBezTo>
                    <a:cubicBezTo>
                      <a:pt x="995317" y="627196"/>
                      <a:pt x="989609" y="623628"/>
                      <a:pt x="983901" y="621488"/>
                    </a:cubicBezTo>
                    <a:cubicBezTo>
                      <a:pt x="978192" y="620061"/>
                      <a:pt x="972484" y="618634"/>
                      <a:pt x="966776" y="618634"/>
                    </a:cubicBezTo>
                    <a:cubicBezTo>
                      <a:pt x="951079" y="618634"/>
                      <a:pt x="936095" y="625769"/>
                      <a:pt x="927533" y="637899"/>
                    </a:cubicBezTo>
                    <a:cubicBezTo>
                      <a:pt x="927533" y="637899"/>
                      <a:pt x="927533" y="637899"/>
                      <a:pt x="918971" y="649316"/>
                    </a:cubicBezTo>
                    <a:cubicBezTo>
                      <a:pt x="918971" y="649316"/>
                      <a:pt x="918971" y="649316"/>
                      <a:pt x="865457" y="719956"/>
                    </a:cubicBezTo>
                    <a:cubicBezTo>
                      <a:pt x="865457" y="719956"/>
                      <a:pt x="865457" y="719956"/>
                      <a:pt x="809803" y="625056"/>
                    </a:cubicBezTo>
                    <a:cubicBezTo>
                      <a:pt x="809803" y="625056"/>
                      <a:pt x="809803" y="625056"/>
                      <a:pt x="697782" y="432401"/>
                    </a:cubicBezTo>
                    <a:cubicBezTo>
                      <a:pt x="697782" y="432401"/>
                      <a:pt x="697782" y="432401"/>
                      <a:pt x="696355" y="429547"/>
                    </a:cubicBezTo>
                    <a:cubicBezTo>
                      <a:pt x="692787" y="423839"/>
                      <a:pt x="687793" y="418844"/>
                      <a:pt x="682085" y="415277"/>
                    </a:cubicBezTo>
                    <a:cubicBezTo>
                      <a:pt x="682085" y="414563"/>
                      <a:pt x="682085" y="414563"/>
                      <a:pt x="681371" y="414563"/>
                    </a:cubicBezTo>
                    <a:cubicBezTo>
                      <a:pt x="677090" y="411709"/>
                      <a:pt x="672096" y="409568"/>
                      <a:pt x="666387" y="408141"/>
                    </a:cubicBezTo>
                    <a:cubicBezTo>
                      <a:pt x="662820" y="407428"/>
                      <a:pt x="658539" y="406714"/>
                      <a:pt x="654258" y="406714"/>
                    </a:cubicBezTo>
                    <a:cubicBezTo>
                      <a:pt x="647836" y="406714"/>
                      <a:pt x="641415" y="407428"/>
                      <a:pt x="636420" y="409568"/>
                    </a:cubicBezTo>
                    <a:cubicBezTo>
                      <a:pt x="629998" y="411709"/>
                      <a:pt x="625004" y="415277"/>
                      <a:pt x="620723" y="418844"/>
                    </a:cubicBezTo>
                    <a:cubicBezTo>
                      <a:pt x="618582" y="420985"/>
                      <a:pt x="617155" y="422412"/>
                      <a:pt x="615728" y="424553"/>
                    </a:cubicBezTo>
                    <a:cubicBezTo>
                      <a:pt x="612874" y="427407"/>
                      <a:pt x="610733" y="430261"/>
                      <a:pt x="609306" y="433829"/>
                    </a:cubicBezTo>
                    <a:cubicBezTo>
                      <a:pt x="609306" y="433829"/>
                      <a:pt x="609306" y="433829"/>
                      <a:pt x="605025" y="444532"/>
                    </a:cubicBezTo>
                    <a:cubicBezTo>
                      <a:pt x="605025" y="444532"/>
                      <a:pt x="605025" y="444532"/>
                      <a:pt x="494431" y="690701"/>
                    </a:cubicBezTo>
                    <a:cubicBezTo>
                      <a:pt x="494431" y="690701"/>
                      <a:pt x="494431" y="690701"/>
                      <a:pt x="477307" y="728518"/>
                    </a:cubicBezTo>
                    <a:cubicBezTo>
                      <a:pt x="477307" y="728518"/>
                      <a:pt x="477307" y="728518"/>
                      <a:pt x="469458" y="724237"/>
                    </a:cubicBezTo>
                    <a:cubicBezTo>
                      <a:pt x="469458" y="724237"/>
                      <a:pt x="469458" y="724237"/>
                      <a:pt x="410236" y="686419"/>
                    </a:cubicBezTo>
                    <a:cubicBezTo>
                      <a:pt x="410236" y="686419"/>
                      <a:pt x="410236" y="686419"/>
                      <a:pt x="409523" y="686419"/>
                    </a:cubicBezTo>
                    <a:cubicBezTo>
                      <a:pt x="406669" y="684279"/>
                      <a:pt x="403815" y="682852"/>
                      <a:pt x="400247" y="681425"/>
                    </a:cubicBezTo>
                    <a:cubicBezTo>
                      <a:pt x="394539" y="679998"/>
                      <a:pt x="388831" y="678571"/>
                      <a:pt x="382409" y="678571"/>
                    </a:cubicBezTo>
                    <a:cubicBezTo>
                      <a:pt x="369566" y="678571"/>
                      <a:pt x="357437" y="682852"/>
                      <a:pt x="348161" y="691414"/>
                    </a:cubicBezTo>
                    <a:cubicBezTo>
                      <a:pt x="348161" y="691414"/>
                      <a:pt x="348161" y="691414"/>
                      <a:pt x="70605" y="941151"/>
                    </a:cubicBezTo>
                    <a:cubicBezTo>
                      <a:pt x="70605" y="941151"/>
                      <a:pt x="70605" y="941151"/>
                      <a:pt x="45632" y="963270"/>
                    </a:cubicBezTo>
                    <a:cubicBezTo>
                      <a:pt x="35642" y="972546"/>
                      <a:pt x="30648" y="985390"/>
                      <a:pt x="31361" y="998234"/>
                    </a:cubicBezTo>
                    <a:cubicBezTo>
                      <a:pt x="31361" y="1002515"/>
                      <a:pt x="32075" y="1006082"/>
                      <a:pt x="33502" y="1009650"/>
                    </a:cubicBezTo>
                    <a:cubicBezTo>
                      <a:pt x="33502" y="1009650"/>
                      <a:pt x="33502" y="1009650"/>
                      <a:pt x="17091" y="1009650"/>
                    </a:cubicBezTo>
                    <a:cubicBezTo>
                      <a:pt x="17091" y="1009650"/>
                      <a:pt x="17091" y="1009650"/>
                      <a:pt x="1394" y="1009650"/>
                    </a:cubicBezTo>
                    <a:cubicBezTo>
                      <a:pt x="-3601" y="984676"/>
                      <a:pt x="4961" y="958276"/>
                      <a:pt x="24940" y="939724"/>
                    </a:cubicBezTo>
                    <a:cubicBezTo>
                      <a:pt x="24940" y="939724"/>
                      <a:pt x="24940" y="939724"/>
                      <a:pt x="327469" y="667868"/>
                    </a:cubicBezTo>
                    <a:cubicBezTo>
                      <a:pt x="342453" y="654310"/>
                      <a:pt x="361718" y="647175"/>
                      <a:pt x="382409" y="647175"/>
                    </a:cubicBezTo>
                    <a:cubicBezTo>
                      <a:pt x="398107" y="647175"/>
                      <a:pt x="413091" y="651456"/>
                      <a:pt x="425934" y="659305"/>
                    </a:cubicBezTo>
                    <a:cubicBezTo>
                      <a:pt x="425934" y="659305"/>
                      <a:pt x="425934" y="659305"/>
                      <a:pt x="426647" y="659305"/>
                    </a:cubicBezTo>
                    <a:cubicBezTo>
                      <a:pt x="426647" y="659305"/>
                      <a:pt x="426647" y="659305"/>
                      <a:pt x="463036" y="682852"/>
                    </a:cubicBezTo>
                    <a:cubicBezTo>
                      <a:pt x="463036" y="682852"/>
                      <a:pt x="463036" y="682852"/>
                      <a:pt x="580766" y="420985"/>
                    </a:cubicBezTo>
                    <a:cubicBezTo>
                      <a:pt x="586474" y="408855"/>
                      <a:pt x="594323" y="398865"/>
                      <a:pt x="605025" y="391017"/>
                    </a:cubicBezTo>
                    <a:cubicBezTo>
                      <a:pt x="609306" y="387449"/>
                      <a:pt x="615015" y="384595"/>
                      <a:pt x="620723" y="382454"/>
                    </a:cubicBezTo>
                    <a:cubicBezTo>
                      <a:pt x="625717" y="380314"/>
                      <a:pt x="630712" y="378173"/>
                      <a:pt x="636420" y="376746"/>
                    </a:cubicBezTo>
                    <a:cubicBezTo>
                      <a:pt x="636420" y="303252"/>
                      <a:pt x="636420" y="189800"/>
                      <a:pt x="636420" y="14984"/>
                    </a:cubicBezTo>
                    <a:cubicBezTo>
                      <a:pt x="636420" y="6422"/>
                      <a:pt x="642842" y="0"/>
                      <a:pt x="65140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DD0FA0C2-8182-4825-A08D-574E709B4E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2275" y="3405188"/>
                <a:ext cx="1192213" cy="571500"/>
              </a:xfrm>
              <a:custGeom>
                <a:avLst/>
                <a:gdLst>
                  <a:gd name="T0" fmla="*/ 1655 w 1670"/>
                  <a:gd name="T1" fmla="*/ 769 h 801"/>
                  <a:gd name="T2" fmla="*/ 1295 w 1670"/>
                  <a:gd name="T3" fmla="*/ 306 h 801"/>
                  <a:gd name="T4" fmla="*/ 1275 w 1670"/>
                  <a:gd name="T5" fmla="*/ 297 h 801"/>
                  <a:gd name="T6" fmla="*/ 1255 w 1670"/>
                  <a:gd name="T7" fmla="*/ 306 h 801"/>
                  <a:gd name="T8" fmla="*/ 1146 w 1670"/>
                  <a:gd name="T9" fmla="*/ 450 h 801"/>
                  <a:gd name="T10" fmla="*/ 1130 w 1670"/>
                  <a:gd name="T11" fmla="*/ 458 h 801"/>
                  <a:gd name="T12" fmla="*/ 1113 w 1670"/>
                  <a:gd name="T13" fmla="*/ 448 h 801"/>
                  <a:gd name="T14" fmla="*/ 898 w 1670"/>
                  <a:gd name="T15" fmla="*/ 80 h 801"/>
                  <a:gd name="T16" fmla="*/ 876 w 1670"/>
                  <a:gd name="T17" fmla="*/ 42 h 801"/>
                  <a:gd name="T18" fmla="*/ 858 w 1670"/>
                  <a:gd name="T19" fmla="*/ 11 h 801"/>
                  <a:gd name="T20" fmla="*/ 854 w 1670"/>
                  <a:gd name="T21" fmla="*/ 6 h 801"/>
                  <a:gd name="T22" fmla="*/ 837 w 1670"/>
                  <a:gd name="T23" fmla="*/ 0 h 801"/>
                  <a:gd name="T24" fmla="*/ 814 w 1670"/>
                  <a:gd name="T25" fmla="*/ 12 h 801"/>
                  <a:gd name="T26" fmla="*/ 812 w 1670"/>
                  <a:gd name="T27" fmla="*/ 18 h 801"/>
                  <a:gd name="T28" fmla="*/ 790 w 1670"/>
                  <a:gd name="T29" fmla="*/ 67 h 801"/>
                  <a:gd name="T30" fmla="*/ 768 w 1670"/>
                  <a:gd name="T31" fmla="*/ 116 h 801"/>
                  <a:gd name="T32" fmla="*/ 617 w 1670"/>
                  <a:gd name="T33" fmla="*/ 451 h 801"/>
                  <a:gd name="T34" fmla="*/ 599 w 1670"/>
                  <a:gd name="T35" fmla="*/ 463 h 801"/>
                  <a:gd name="T36" fmla="*/ 588 w 1670"/>
                  <a:gd name="T37" fmla="*/ 459 h 801"/>
                  <a:gd name="T38" fmla="*/ 471 w 1670"/>
                  <a:gd name="T39" fmla="*/ 385 h 801"/>
                  <a:gd name="T40" fmla="*/ 456 w 1670"/>
                  <a:gd name="T41" fmla="*/ 381 h 801"/>
                  <a:gd name="T42" fmla="*/ 437 w 1670"/>
                  <a:gd name="T43" fmla="*/ 388 h 801"/>
                  <a:gd name="T44" fmla="*/ 14 w 1670"/>
                  <a:gd name="T45" fmla="*/ 769 h 801"/>
                  <a:gd name="T46" fmla="*/ 32 w 1670"/>
                  <a:gd name="T47" fmla="*/ 801 h 801"/>
                  <a:gd name="T48" fmla="*/ 1637 w 1670"/>
                  <a:gd name="T49" fmla="*/ 801 h 801"/>
                  <a:gd name="T50" fmla="*/ 1655 w 1670"/>
                  <a:gd name="T51" fmla="*/ 769 h 8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70" h="801">
                    <a:moveTo>
                      <a:pt x="1655" y="769"/>
                    </a:moveTo>
                    <a:cubicBezTo>
                      <a:pt x="1295" y="306"/>
                      <a:pt x="1295" y="306"/>
                      <a:pt x="1295" y="306"/>
                    </a:cubicBezTo>
                    <a:cubicBezTo>
                      <a:pt x="1290" y="300"/>
                      <a:pt x="1283" y="297"/>
                      <a:pt x="1275" y="297"/>
                    </a:cubicBezTo>
                    <a:cubicBezTo>
                      <a:pt x="1267" y="297"/>
                      <a:pt x="1259" y="300"/>
                      <a:pt x="1255" y="306"/>
                    </a:cubicBezTo>
                    <a:cubicBezTo>
                      <a:pt x="1146" y="450"/>
                      <a:pt x="1146" y="450"/>
                      <a:pt x="1146" y="450"/>
                    </a:cubicBezTo>
                    <a:cubicBezTo>
                      <a:pt x="1142" y="456"/>
                      <a:pt x="1136" y="458"/>
                      <a:pt x="1130" y="458"/>
                    </a:cubicBezTo>
                    <a:cubicBezTo>
                      <a:pt x="1123" y="458"/>
                      <a:pt x="1117" y="455"/>
                      <a:pt x="1113" y="448"/>
                    </a:cubicBezTo>
                    <a:cubicBezTo>
                      <a:pt x="898" y="80"/>
                      <a:pt x="898" y="80"/>
                      <a:pt x="898" y="80"/>
                    </a:cubicBezTo>
                    <a:cubicBezTo>
                      <a:pt x="876" y="42"/>
                      <a:pt x="876" y="42"/>
                      <a:pt x="876" y="42"/>
                    </a:cubicBezTo>
                    <a:cubicBezTo>
                      <a:pt x="858" y="11"/>
                      <a:pt x="858" y="11"/>
                      <a:pt x="858" y="11"/>
                    </a:cubicBezTo>
                    <a:cubicBezTo>
                      <a:pt x="857" y="9"/>
                      <a:pt x="856" y="7"/>
                      <a:pt x="854" y="6"/>
                    </a:cubicBezTo>
                    <a:cubicBezTo>
                      <a:pt x="850" y="2"/>
                      <a:pt x="843" y="0"/>
                      <a:pt x="837" y="0"/>
                    </a:cubicBezTo>
                    <a:cubicBezTo>
                      <a:pt x="827" y="0"/>
                      <a:pt x="818" y="4"/>
                      <a:pt x="814" y="12"/>
                    </a:cubicBezTo>
                    <a:cubicBezTo>
                      <a:pt x="812" y="18"/>
                      <a:pt x="812" y="18"/>
                      <a:pt x="812" y="18"/>
                    </a:cubicBezTo>
                    <a:cubicBezTo>
                      <a:pt x="790" y="67"/>
                      <a:pt x="790" y="67"/>
                      <a:pt x="790" y="67"/>
                    </a:cubicBezTo>
                    <a:cubicBezTo>
                      <a:pt x="768" y="116"/>
                      <a:pt x="768" y="116"/>
                      <a:pt x="768" y="116"/>
                    </a:cubicBezTo>
                    <a:cubicBezTo>
                      <a:pt x="617" y="451"/>
                      <a:pt x="617" y="451"/>
                      <a:pt x="617" y="451"/>
                    </a:cubicBezTo>
                    <a:cubicBezTo>
                      <a:pt x="614" y="458"/>
                      <a:pt x="607" y="463"/>
                      <a:pt x="599" y="463"/>
                    </a:cubicBezTo>
                    <a:cubicBezTo>
                      <a:pt x="595" y="463"/>
                      <a:pt x="592" y="462"/>
                      <a:pt x="588" y="459"/>
                    </a:cubicBezTo>
                    <a:cubicBezTo>
                      <a:pt x="471" y="385"/>
                      <a:pt x="471" y="385"/>
                      <a:pt x="471" y="385"/>
                    </a:cubicBezTo>
                    <a:cubicBezTo>
                      <a:pt x="467" y="383"/>
                      <a:pt x="462" y="381"/>
                      <a:pt x="456" y="381"/>
                    </a:cubicBezTo>
                    <a:cubicBezTo>
                      <a:pt x="449" y="381"/>
                      <a:pt x="442" y="383"/>
                      <a:pt x="437" y="388"/>
                    </a:cubicBezTo>
                    <a:cubicBezTo>
                      <a:pt x="14" y="769"/>
                      <a:pt x="14" y="769"/>
                      <a:pt x="14" y="769"/>
                    </a:cubicBezTo>
                    <a:cubicBezTo>
                      <a:pt x="0" y="781"/>
                      <a:pt x="11" y="801"/>
                      <a:pt x="32" y="801"/>
                    </a:cubicBezTo>
                    <a:cubicBezTo>
                      <a:pt x="1637" y="801"/>
                      <a:pt x="1637" y="801"/>
                      <a:pt x="1637" y="801"/>
                    </a:cubicBezTo>
                    <a:cubicBezTo>
                      <a:pt x="1658" y="801"/>
                      <a:pt x="1670" y="780"/>
                      <a:pt x="1655" y="76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1" name="bcgIcons_FeetRightDirection">
            <a:extLst>
              <a:ext uri="{FF2B5EF4-FFF2-40B4-BE49-F238E27FC236}">
                <a16:creationId xmlns:a16="http://schemas.microsoft.com/office/drawing/2014/main" id="{8BD39911-AB90-4823-A0E2-790E1ECFCF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97172" y="3797976"/>
            <a:ext cx="817384" cy="818141"/>
            <a:chOff x="1682" y="0"/>
            <a:chExt cx="4316" cy="4320"/>
          </a:xfrm>
        </p:grpSpPr>
        <p:sp>
          <p:nvSpPr>
            <p:cNvPr id="52" name="AutoShape 33">
              <a:extLst>
                <a:ext uri="{FF2B5EF4-FFF2-40B4-BE49-F238E27FC236}">
                  <a16:creationId xmlns:a16="http://schemas.microsoft.com/office/drawing/2014/main" id="{4CC4E08E-70F0-46B6-BEBB-A13B08A1C65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999BF8BE-2C18-48A6-BDBE-9B650353BF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5" y="1924"/>
              <a:ext cx="3222" cy="1942"/>
            </a:xfrm>
            <a:custGeom>
              <a:avLst/>
              <a:gdLst>
                <a:gd name="T0" fmla="*/ 152 w 1720"/>
                <a:gd name="T1" fmla="*/ 1036 h 1036"/>
                <a:gd name="T2" fmla="*/ 68 w 1720"/>
                <a:gd name="T3" fmla="*/ 1006 h 1036"/>
                <a:gd name="T4" fmla="*/ 2 w 1720"/>
                <a:gd name="T5" fmla="*/ 877 h 1036"/>
                <a:gd name="T6" fmla="*/ 139 w 1720"/>
                <a:gd name="T7" fmla="*/ 651 h 1036"/>
                <a:gd name="T8" fmla="*/ 163 w 1720"/>
                <a:gd name="T9" fmla="*/ 652 h 1036"/>
                <a:gd name="T10" fmla="*/ 371 w 1720"/>
                <a:gd name="T11" fmla="*/ 810 h 1036"/>
                <a:gd name="T12" fmla="*/ 378 w 1720"/>
                <a:gd name="T13" fmla="*/ 836 h 1036"/>
                <a:gd name="T14" fmla="*/ 194 w 1720"/>
                <a:gd name="T15" fmla="*/ 1030 h 1036"/>
                <a:gd name="T16" fmla="*/ 152 w 1720"/>
                <a:gd name="T17" fmla="*/ 1036 h 1036"/>
                <a:gd name="T18" fmla="*/ 149 w 1720"/>
                <a:gd name="T19" fmla="*/ 697 h 1036"/>
                <a:gd name="T20" fmla="*/ 46 w 1720"/>
                <a:gd name="T21" fmla="*/ 879 h 1036"/>
                <a:gd name="T22" fmla="*/ 95 w 1720"/>
                <a:gd name="T23" fmla="*/ 972 h 1036"/>
                <a:gd name="T24" fmla="*/ 182 w 1720"/>
                <a:gd name="T25" fmla="*/ 988 h 1036"/>
                <a:gd name="T26" fmla="*/ 330 w 1720"/>
                <a:gd name="T27" fmla="*/ 834 h 1036"/>
                <a:gd name="T28" fmla="*/ 149 w 1720"/>
                <a:gd name="T29" fmla="*/ 697 h 1036"/>
                <a:gd name="T30" fmla="*/ 445 w 1720"/>
                <a:gd name="T31" fmla="*/ 753 h 1036"/>
                <a:gd name="T32" fmla="*/ 425 w 1720"/>
                <a:gd name="T33" fmla="*/ 741 h 1036"/>
                <a:gd name="T34" fmla="*/ 254 w 1720"/>
                <a:gd name="T35" fmla="*/ 559 h 1036"/>
                <a:gd name="T36" fmla="*/ 245 w 1720"/>
                <a:gd name="T37" fmla="*/ 531 h 1036"/>
                <a:gd name="T38" fmla="*/ 635 w 1720"/>
                <a:gd name="T39" fmla="*/ 189 h 1036"/>
                <a:gd name="T40" fmla="*/ 802 w 1720"/>
                <a:gd name="T41" fmla="*/ 244 h 1036"/>
                <a:gd name="T42" fmla="*/ 675 w 1720"/>
                <a:gd name="T43" fmla="*/ 641 h 1036"/>
                <a:gd name="T44" fmla="*/ 451 w 1720"/>
                <a:gd name="T45" fmla="*/ 752 h 1036"/>
                <a:gd name="T46" fmla="*/ 445 w 1720"/>
                <a:gd name="T47" fmla="*/ 753 h 1036"/>
                <a:gd name="T48" fmla="*/ 293 w 1720"/>
                <a:gd name="T49" fmla="*/ 532 h 1036"/>
                <a:gd name="T50" fmla="*/ 457 w 1720"/>
                <a:gd name="T51" fmla="*/ 705 h 1036"/>
                <a:gd name="T52" fmla="*/ 645 w 1720"/>
                <a:gd name="T53" fmla="*/ 609 h 1036"/>
                <a:gd name="T54" fmla="*/ 768 w 1720"/>
                <a:gd name="T55" fmla="*/ 272 h 1036"/>
                <a:gd name="T56" fmla="*/ 641 w 1720"/>
                <a:gd name="T57" fmla="*/ 233 h 1036"/>
                <a:gd name="T58" fmla="*/ 293 w 1720"/>
                <a:gd name="T59" fmla="*/ 532 h 1036"/>
                <a:gd name="T60" fmla="*/ 1017 w 1720"/>
                <a:gd name="T61" fmla="*/ 925 h 1036"/>
                <a:gd name="T62" fmla="*/ 891 w 1720"/>
                <a:gd name="T63" fmla="*/ 858 h 1036"/>
                <a:gd name="T64" fmla="*/ 868 w 1720"/>
                <a:gd name="T65" fmla="*/ 732 h 1036"/>
                <a:gd name="T66" fmla="*/ 1063 w 1720"/>
                <a:gd name="T67" fmla="*/ 549 h 1036"/>
                <a:gd name="T68" fmla="*/ 1089 w 1720"/>
                <a:gd name="T69" fmla="*/ 556 h 1036"/>
                <a:gd name="T70" fmla="*/ 1246 w 1720"/>
                <a:gd name="T71" fmla="*/ 764 h 1036"/>
                <a:gd name="T72" fmla="*/ 1247 w 1720"/>
                <a:gd name="T73" fmla="*/ 788 h 1036"/>
                <a:gd name="T74" fmla="*/ 1021 w 1720"/>
                <a:gd name="T75" fmla="*/ 924 h 1036"/>
                <a:gd name="T76" fmla="*/ 1017 w 1720"/>
                <a:gd name="T77" fmla="*/ 925 h 1036"/>
                <a:gd name="T78" fmla="*/ 1065 w 1720"/>
                <a:gd name="T79" fmla="*/ 597 h 1036"/>
                <a:gd name="T80" fmla="*/ 911 w 1720"/>
                <a:gd name="T81" fmla="*/ 745 h 1036"/>
                <a:gd name="T82" fmla="*/ 926 w 1720"/>
                <a:gd name="T83" fmla="*/ 831 h 1036"/>
                <a:gd name="T84" fmla="*/ 1019 w 1720"/>
                <a:gd name="T85" fmla="*/ 881 h 1036"/>
                <a:gd name="T86" fmla="*/ 1201 w 1720"/>
                <a:gd name="T87" fmla="*/ 778 h 1036"/>
                <a:gd name="T88" fmla="*/ 1065 w 1720"/>
                <a:gd name="T89" fmla="*/ 597 h 1036"/>
                <a:gd name="T90" fmla="*/ 1358 w 1720"/>
                <a:gd name="T91" fmla="*/ 684 h 1036"/>
                <a:gd name="T92" fmla="*/ 1339 w 1720"/>
                <a:gd name="T93" fmla="*/ 674 h 1036"/>
                <a:gd name="T94" fmla="*/ 1158 w 1720"/>
                <a:gd name="T95" fmla="*/ 501 h 1036"/>
                <a:gd name="T96" fmla="*/ 1147 w 1720"/>
                <a:gd name="T97" fmla="*/ 476 h 1036"/>
                <a:gd name="T98" fmla="*/ 1259 w 1720"/>
                <a:gd name="T99" fmla="*/ 252 h 1036"/>
                <a:gd name="T100" fmla="*/ 1656 w 1720"/>
                <a:gd name="T101" fmla="*/ 126 h 1036"/>
                <a:gd name="T102" fmla="*/ 1710 w 1720"/>
                <a:gd name="T103" fmla="*/ 294 h 1036"/>
                <a:gd name="T104" fmla="*/ 1367 w 1720"/>
                <a:gd name="T105" fmla="*/ 682 h 1036"/>
                <a:gd name="T106" fmla="*/ 1358 w 1720"/>
                <a:gd name="T107" fmla="*/ 684 h 1036"/>
                <a:gd name="T108" fmla="*/ 1194 w 1720"/>
                <a:gd name="T109" fmla="*/ 471 h 1036"/>
                <a:gd name="T110" fmla="*/ 1366 w 1720"/>
                <a:gd name="T111" fmla="*/ 634 h 1036"/>
                <a:gd name="T112" fmla="*/ 1667 w 1720"/>
                <a:gd name="T113" fmla="*/ 288 h 1036"/>
                <a:gd name="T114" fmla="*/ 1628 w 1720"/>
                <a:gd name="T115" fmla="*/ 160 h 1036"/>
                <a:gd name="T116" fmla="*/ 1291 w 1720"/>
                <a:gd name="T117" fmla="*/ 282 h 1036"/>
                <a:gd name="T118" fmla="*/ 1194 w 1720"/>
                <a:gd name="T119" fmla="*/ 471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20" h="1036">
                  <a:moveTo>
                    <a:pt x="152" y="1036"/>
                  </a:moveTo>
                  <a:cubicBezTo>
                    <a:pt x="122" y="1036"/>
                    <a:pt x="94" y="1026"/>
                    <a:pt x="68" y="1006"/>
                  </a:cubicBezTo>
                  <a:cubicBezTo>
                    <a:pt x="23" y="971"/>
                    <a:pt x="0" y="913"/>
                    <a:pt x="2" y="877"/>
                  </a:cubicBezTo>
                  <a:cubicBezTo>
                    <a:pt x="5" y="820"/>
                    <a:pt x="70" y="690"/>
                    <a:pt x="139" y="651"/>
                  </a:cubicBezTo>
                  <a:cubicBezTo>
                    <a:pt x="147" y="647"/>
                    <a:pt x="156" y="647"/>
                    <a:pt x="163" y="652"/>
                  </a:cubicBezTo>
                  <a:cubicBezTo>
                    <a:pt x="371" y="810"/>
                    <a:pt x="371" y="810"/>
                    <a:pt x="371" y="810"/>
                  </a:cubicBezTo>
                  <a:cubicBezTo>
                    <a:pt x="379" y="816"/>
                    <a:pt x="382" y="827"/>
                    <a:pt x="378" y="836"/>
                  </a:cubicBezTo>
                  <a:cubicBezTo>
                    <a:pt x="375" y="843"/>
                    <a:pt x="307" y="996"/>
                    <a:pt x="194" y="1030"/>
                  </a:cubicBezTo>
                  <a:cubicBezTo>
                    <a:pt x="180" y="1034"/>
                    <a:pt x="166" y="1036"/>
                    <a:pt x="152" y="1036"/>
                  </a:cubicBezTo>
                  <a:close/>
                  <a:moveTo>
                    <a:pt x="149" y="697"/>
                  </a:moveTo>
                  <a:cubicBezTo>
                    <a:pt x="99" y="736"/>
                    <a:pt x="48" y="837"/>
                    <a:pt x="46" y="879"/>
                  </a:cubicBezTo>
                  <a:cubicBezTo>
                    <a:pt x="45" y="901"/>
                    <a:pt x="61" y="945"/>
                    <a:pt x="95" y="972"/>
                  </a:cubicBezTo>
                  <a:cubicBezTo>
                    <a:pt x="121" y="992"/>
                    <a:pt x="150" y="997"/>
                    <a:pt x="182" y="988"/>
                  </a:cubicBezTo>
                  <a:cubicBezTo>
                    <a:pt x="256" y="965"/>
                    <a:pt x="311" y="871"/>
                    <a:pt x="330" y="834"/>
                  </a:cubicBezTo>
                  <a:lnTo>
                    <a:pt x="149" y="697"/>
                  </a:lnTo>
                  <a:close/>
                  <a:moveTo>
                    <a:pt x="445" y="753"/>
                  </a:moveTo>
                  <a:cubicBezTo>
                    <a:pt x="437" y="753"/>
                    <a:pt x="429" y="749"/>
                    <a:pt x="425" y="741"/>
                  </a:cubicBezTo>
                  <a:cubicBezTo>
                    <a:pt x="374" y="633"/>
                    <a:pt x="255" y="560"/>
                    <a:pt x="254" y="559"/>
                  </a:cubicBezTo>
                  <a:cubicBezTo>
                    <a:pt x="244" y="553"/>
                    <a:pt x="241" y="541"/>
                    <a:pt x="245" y="531"/>
                  </a:cubicBezTo>
                  <a:cubicBezTo>
                    <a:pt x="339" y="319"/>
                    <a:pt x="508" y="206"/>
                    <a:pt x="635" y="189"/>
                  </a:cubicBezTo>
                  <a:cubicBezTo>
                    <a:pt x="706" y="180"/>
                    <a:pt x="766" y="199"/>
                    <a:pt x="802" y="244"/>
                  </a:cubicBezTo>
                  <a:cubicBezTo>
                    <a:pt x="928" y="399"/>
                    <a:pt x="701" y="616"/>
                    <a:pt x="675" y="641"/>
                  </a:cubicBezTo>
                  <a:cubicBezTo>
                    <a:pt x="600" y="710"/>
                    <a:pt x="457" y="751"/>
                    <a:pt x="451" y="752"/>
                  </a:cubicBezTo>
                  <a:cubicBezTo>
                    <a:pt x="449" y="753"/>
                    <a:pt x="447" y="753"/>
                    <a:pt x="445" y="753"/>
                  </a:cubicBezTo>
                  <a:close/>
                  <a:moveTo>
                    <a:pt x="293" y="532"/>
                  </a:moveTo>
                  <a:cubicBezTo>
                    <a:pt x="328" y="556"/>
                    <a:pt x="409" y="618"/>
                    <a:pt x="457" y="705"/>
                  </a:cubicBezTo>
                  <a:cubicBezTo>
                    <a:pt x="496" y="692"/>
                    <a:pt x="592" y="658"/>
                    <a:pt x="645" y="609"/>
                  </a:cubicBezTo>
                  <a:cubicBezTo>
                    <a:pt x="654" y="600"/>
                    <a:pt x="870" y="397"/>
                    <a:pt x="768" y="272"/>
                  </a:cubicBezTo>
                  <a:cubicBezTo>
                    <a:pt x="742" y="239"/>
                    <a:pt x="696" y="225"/>
                    <a:pt x="641" y="233"/>
                  </a:cubicBezTo>
                  <a:cubicBezTo>
                    <a:pt x="530" y="248"/>
                    <a:pt x="381" y="346"/>
                    <a:pt x="293" y="532"/>
                  </a:cubicBezTo>
                  <a:close/>
                  <a:moveTo>
                    <a:pt x="1017" y="925"/>
                  </a:moveTo>
                  <a:cubicBezTo>
                    <a:pt x="980" y="925"/>
                    <a:pt x="926" y="902"/>
                    <a:pt x="891" y="858"/>
                  </a:cubicBezTo>
                  <a:cubicBezTo>
                    <a:pt x="863" y="821"/>
                    <a:pt x="855" y="777"/>
                    <a:pt x="868" y="732"/>
                  </a:cubicBezTo>
                  <a:cubicBezTo>
                    <a:pt x="903" y="619"/>
                    <a:pt x="1056" y="552"/>
                    <a:pt x="1063" y="549"/>
                  </a:cubicBezTo>
                  <a:cubicBezTo>
                    <a:pt x="1072" y="545"/>
                    <a:pt x="1083" y="548"/>
                    <a:pt x="1089" y="556"/>
                  </a:cubicBezTo>
                  <a:cubicBezTo>
                    <a:pt x="1246" y="764"/>
                    <a:pt x="1246" y="764"/>
                    <a:pt x="1246" y="764"/>
                  </a:cubicBezTo>
                  <a:cubicBezTo>
                    <a:pt x="1251" y="771"/>
                    <a:pt x="1252" y="780"/>
                    <a:pt x="1247" y="788"/>
                  </a:cubicBezTo>
                  <a:cubicBezTo>
                    <a:pt x="1208" y="857"/>
                    <a:pt x="1078" y="922"/>
                    <a:pt x="1021" y="924"/>
                  </a:cubicBezTo>
                  <a:cubicBezTo>
                    <a:pt x="1019" y="925"/>
                    <a:pt x="1018" y="925"/>
                    <a:pt x="1017" y="925"/>
                  </a:cubicBezTo>
                  <a:close/>
                  <a:moveTo>
                    <a:pt x="1065" y="597"/>
                  </a:moveTo>
                  <a:cubicBezTo>
                    <a:pt x="1027" y="616"/>
                    <a:pt x="933" y="670"/>
                    <a:pt x="911" y="745"/>
                  </a:cubicBezTo>
                  <a:cubicBezTo>
                    <a:pt x="901" y="776"/>
                    <a:pt x="906" y="805"/>
                    <a:pt x="926" y="831"/>
                  </a:cubicBezTo>
                  <a:cubicBezTo>
                    <a:pt x="953" y="865"/>
                    <a:pt x="997" y="882"/>
                    <a:pt x="1019" y="881"/>
                  </a:cubicBezTo>
                  <a:cubicBezTo>
                    <a:pt x="1061" y="878"/>
                    <a:pt x="1162" y="828"/>
                    <a:pt x="1201" y="778"/>
                  </a:cubicBezTo>
                  <a:lnTo>
                    <a:pt x="1065" y="597"/>
                  </a:lnTo>
                  <a:close/>
                  <a:moveTo>
                    <a:pt x="1358" y="684"/>
                  </a:moveTo>
                  <a:cubicBezTo>
                    <a:pt x="1351" y="684"/>
                    <a:pt x="1343" y="680"/>
                    <a:pt x="1339" y="674"/>
                  </a:cubicBezTo>
                  <a:cubicBezTo>
                    <a:pt x="1338" y="672"/>
                    <a:pt x="1265" y="553"/>
                    <a:pt x="1158" y="501"/>
                  </a:cubicBezTo>
                  <a:cubicBezTo>
                    <a:pt x="1149" y="497"/>
                    <a:pt x="1144" y="486"/>
                    <a:pt x="1147" y="476"/>
                  </a:cubicBezTo>
                  <a:cubicBezTo>
                    <a:pt x="1148" y="470"/>
                    <a:pt x="1189" y="327"/>
                    <a:pt x="1259" y="252"/>
                  </a:cubicBezTo>
                  <a:cubicBezTo>
                    <a:pt x="1283" y="226"/>
                    <a:pt x="1502" y="0"/>
                    <a:pt x="1656" y="126"/>
                  </a:cubicBezTo>
                  <a:cubicBezTo>
                    <a:pt x="1701" y="163"/>
                    <a:pt x="1720" y="222"/>
                    <a:pt x="1710" y="294"/>
                  </a:cubicBezTo>
                  <a:cubicBezTo>
                    <a:pt x="1693" y="420"/>
                    <a:pt x="1580" y="589"/>
                    <a:pt x="1367" y="682"/>
                  </a:cubicBezTo>
                  <a:cubicBezTo>
                    <a:pt x="1364" y="684"/>
                    <a:pt x="1361" y="684"/>
                    <a:pt x="1358" y="684"/>
                  </a:cubicBezTo>
                  <a:close/>
                  <a:moveTo>
                    <a:pt x="1194" y="471"/>
                  </a:moveTo>
                  <a:cubicBezTo>
                    <a:pt x="1280" y="518"/>
                    <a:pt x="1342" y="599"/>
                    <a:pt x="1366" y="634"/>
                  </a:cubicBezTo>
                  <a:cubicBezTo>
                    <a:pt x="1553" y="547"/>
                    <a:pt x="1651" y="399"/>
                    <a:pt x="1667" y="288"/>
                  </a:cubicBezTo>
                  <a:cubicBezTo>
                    <a:pt x="1674" y="232"/>
                    <a:pt x="1661" y="187"/>
                    <a:pt x="1628" y="160"/>
                  </a:cubicBezTo>
                  <a:cubicBezTo>
                    <a:pt x="1503" y="58"/>
                    <a:pt x="1300" y="273"/>
                    <a:pt x="1291" y="282"/>
                  </a:cubicBezTo>
                  <a:cubicBezTo>
                    <a:pt x="1242" y="335"/>
                    <a:pt x="1207" y="431"/>
                    <a:pt x="1194" y="4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B0553ECC-6739-413B-9B8B-14A2B63BFF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0" y="392"/>
              <a:ext cx="1739" cy="1607"/>
            </a:xfrm>
            <a:custGeom>
              <a:avLst/>
              <a:gdLst>
                <a:gd name="T0" fmla="*/ 377 w 928"/>
                <a:gd name="T1" fmla="*/ 656 h 857"/>
                <a:gd name="T2" fmla="*/ 194 w 928"/>
                <a:gd name="T3" fmla="*/ 850 h 857"/>
                <a:gd name="T4" fmla="*/ 152 w 928"/>
                <a:gd name="T5" fmla="*/ 857 h 857"/>
                <a:gd name="T6" fmla="*/ 68 w 928"/>
                <a:gd name="T7" fmla="*/ 827 h 857"/>
                <a:gd name="T8" fmla="*/ 2 w 928"/>
                <a:gd name="T9" fmla="*/ 697 h 857"/>
                <a:gd name="T10" fmla="*/ 139 w 928"/>
                <a:gd name="T11" fmla="*/ 471 h 857"/>
                <a:gd name="T12" fmla="*/ 163 w 928"/>
                <a:gd name="T13" fmla="*/ 473 h 857"/>
                <a:gd name="T14" fmla="*/ 370 w 928"/>
                <a:gd name="T15" fmla="*/ 630 h 857"/>
                <a:gd name="T16" fmla="*/ 377 w 928"/>
                <a:gd name="T17" fmla="*/ 656 h 857"/>
                <a:gd name="T18" fmla="*/ 802 w 928"/>
                <a:gd name="T19" fmla="*/ 64 h 857"/>
                <a:gd name="T20" fmla="*/ 635 w 928"/>
                <a:gd name="T21" fmla="*/ 10 h 857"/>
                <a:gd name="T22" fmla="*/ 245 w 928"/>
                <a:gd name="T23" fmla="*/ 352 h 857"/>
                <a:gd name="T24" fmla="*/ 254 w 928"/>
                <a:gd name="T25" fmla="*/ 379 h 857"/>
                <a:gd name="T26" fmla="*/ 425 w 928"/>
                <a:gd name="T27" fmla="*/ 561 h 857"/>
                <a:gd name="T28" fmla="*/ 445 w 928"/>
                <a:gd name="T29" fmla="*/ 574 h 857"/>
                <a:gd name="T30" fmla="*/ 451 w 928"/>
                <a:gd name="T31" fmla="*/ 573 h 857"/>
                <a:gd name="T32" fmla="*/ 675 w 928"/>
                <a:gd name="T33" fmla="*/ 461 h 857"/>
                <a:gd name="T34" fmla="*/ 802 w 928"/>
                <a:gd name="T35" fmla="*/ 64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8" h="857">
                  <a:moveTo>
                    <a:pt x="377" y="656"/>
                  </a:moveTo>
                  <a:cubicBezTo>
                    <a:pt x="374" y="663"/>
                    <a:pt x="307" y="816"/>
                    <a:pt x="194" y="850"/>
                  </a:cubicBezTo>
                  <a:cubicBezTo>
                    <a:pt x="180" y="854"/>
                    <a:pt x="166" y="857"/>
                    <a:pt x="152" y="857"/>
                  </a:cubicBezTo>
                  <a:cubicBezTo>
                    <a:pt x="122" y="857"/>
                    <a:pt x="93" y="846"/>
                    <a:pt x="68" y="827"/>
                  </a:cubicBezTo>
                  <a:cubicBezTo>
                    <a:pt x="23" y="791"/>
                    <a:pt x="0" y="733"/>
                    <a:pt x="2" y="697"/>
                  </a:cubicBezTo>
                  <a:cubicBezTo>
                    <a:pt x="5" y="640"/>
                    <a:pt x="70" y="511"/>
                    <a:pt x="139" y="471"/>
                  </a:cubicBezTo>
                  <a:cubicBezTo>
                    <a:pt x="147" y="467"/>
                    <a:pt x="156" y="467"/>
                    <a:pt x="163" y="473"/>
                  </a:cubicBezTo>
                  <a:cubicBezTo>
                    <a:pt x="370" y="630"/>
                    <a:pt x="370" y="630"/>
                    <a:pt x="370" y="630"/>
                  </a:cubicBezTo>
                  <a:cubicBezTo>
                    <a:pt x="379" y="636"/>
                    <a:pt x="381" y="647"/>
                    <a:pt x="377" y="656"/>
                  </a:cubicBezTo>
                  <a:close/>
                  <a:moveTo>
                    <a:pt x="802" y="64"/>
                  </a:moveTo>
                  <a:cubicBezTo>
                    <a:pt x="766" y="19"/>
                    <a:pt x="706" y="0"/>
                    <a:pt x="635" y="10"/>
                  </a:cubicBezTo>
                  <a:cubicBezTo>
                    <a:pt x="508" y="27"/>
                    <a:pt x="339" y="139"/>
                    <a:pt x="245" y="352"/>
                  </a:cubicBezTo>
                  <a:cubicBezTo>
                    <a:pt x="241" y="362"/>
                    <a:pt x="244" y="374"/>
                    <a:pt x="254" y="379"/>
                  </a:cubicBezTo>
                  <a:cubicBezTo>
                    <a:pt x="255" y="380"/>
                    <a:pt x="374" y="454"/>
                    <a:pt x="425" y="561"/>
                  </a:cubicBezTo>
                  <a:cubicBezTo>
                    <a:pt x="429" y="569"/>
                    <a:pt x="437" y="574"/>
                    <a:pt x="445" y="574"/>
                  </a:cubicBezTo>
                  <a:cubicBezTo>
                    <a:pt x="447" y="574"/>
                    <a:pt x="449" y="573"/>
                    <a:pt x="451" y="573"/>
                  </a:cubicBezTo>
                  <a:cubicBezTo>
                    <a:pt x="457" y="571"/>
                    <a:pt x="600" y="531"/>
                    <a:pt x="675" y="461"/>
                  </a:cubicBezTo>
                  <a:cubicBezTo>
                    <a:pt x="701" y="437"/>
                    <a:pt x="928" y="219"/>
                    <a:pt x="802" y="6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7" name="Arrow: Pentagon 86">
            <a:extLst>
              <a:ext uri="{FF2B5EF4-FFF2-40B4-BE49-F238E27FC236}">
                <a16:creationId xmlns:a16="http://schemas.microsoft.com/office/drawing/2014/main" id="{F5293A1B-C46E-4C46-B8AE-976B290C9C48}"/>
              </a:ext>
            </a:extLst>
          </p:cNvPr>
          <p:cNvSpPr/>
          <p:nvPr/>
        </p:nvSpPr>
        <p:spPr>
          <a:xfrm>
            <a:off x="-17905" y="10626"/>
            <a:ext cx="3190672" cy="5128829"/>
          </a:xfrm>
          <a:prstGeom prst="homePlate">
            <a:avLst/>
          </a:prstGeom>
          <a:gradFill>
            <a:gsLst>
              <a:gs pos="12000">
                <a:schemeClr val="tx2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2384635"/>
            <a:ext cx="2414381" cy="380810"/>
          </a:xfrm>
        </p:spPr>
        <p:txBody>
          <a:bodyPr vert="horz"/>
          <a:lstStyle/>
          <a:p>
            <a:r>
              <a:rPr lang="de-DE">
                <a:solidFill>
                  <a:schemeClr val="bg1"/>
                </a:solidFill>
              </a:rPr>
              <a:t>Outline for today</a:t>
            </a:r>
          </a:p>
        </p:txBody>
      </p:sp>
      <p:sp>
        <p:nvSpPr>
          <p:cNvPr id="40" name="Inhaltsplatzhalter 5">
            <a:extLst>
              <a:ext uri="{FF2B5EF4-FFF2-40B4-BE49-F238E27FC236}">
                <a16:creationId xmlns:a16="http://schemas.microsoft.com/office/drawing/2014/main" id="{F10B800B-7BDD-437C-BD95-BADA97344C22}"/>
              </a:ext>
            </a:extLst>
          </p:cNvPr>
          <p:cNvSpPr txBox="1">
            <a:spLocks/>
          </p:cNvSpPr>
          <p:nvPr/>
        </p:nvSpPr>
        <p:spPr>
          <a:xfrm>
            <a:off x="4197898" y="2460218"/>
            <a:ext cx="5400000" cy="2894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/>
              <a:t>First modeling results</a:t>
            </a:r>
          </a:p>
        </p:txBody>
      </p:sp>
      <p:sp>
        <p:nvSpPr>
          <p:cNvPr id="33" name="Inhaltsplatzhalter 5">
            <a:extLst>
              <a:ext uri="{FF2B5EF4-FFF2-40B4-BE49-F238E27FC236}">
                <a16:creationId xmlns:a16="http://schemas.microsoft.com/office/drawing/2014/main" id="{8BDD1735-D6FA-E445-A8AB-C367A84DB1F8}"/>
              </a:ext>
            </a:extLst>
          </p:cNvPr>
          <p:cNvSpPr txBox="1">
            <a:spLocks/>
          </p:cNvSpPr>
          <p:nvPr/>
        </p:nvSpPr>
        <p:spPr>
          <a:xfrm>
            <a:off x="4197898" y="4062327"/>
            <a:ext cx="5400000" cy="2894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/>
              <a:t>Next steps</a:t>
            </a:r>
          </a:p>
        </p:txBody>
      </p:sp>
      <p:sp>
        <p:nvSpPr>
          <p:cNvPr id="31" name="Inhaltsplatzhalter 5">
            <a:extLst>
              <a:ext uri="{FF2B5EF4-FFF2-40B4-BE49-F238E27FC236}">
                <a16:creationId xmlns:a16="http://schemas.microsoft.com/office/drawing/2014/main" id="{A352D445-DCC2-7F42-9A75-F1044A571025}"/>
              </a:ext>
            </a:extLst>
          </p:cNvPr>
          <p:cNvSpPr txBox="1">
            <a:spLocks/>
          </p:cNvSpPr>
          <p:nvPr/>
        </p:nvSpPr>
        <p:spPr>
          <a:xfrm>
            <a:off x="4197898" y="1659164"/>
            <a:ext cx="5400000" cy="2894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/>
              <a:t>Preprocessing setup</a:t>
            </a:r>
          </a:p>
        </p:txBody>
      </p:sp>
      <p:grpSp>
        <p:nvGrpSpPr>
          <p:cNvPr id="30" name="bcgIcons_DataAnalysis">
            <a:extLst>
              <a:ext uri="{FF2B5EF4-FFF2-40B4-BE49-F238E27FC236}">
                <a16:creationId xmlns:a16="http://schemas.microsoft.com/office/drawing/2014/main" id="{2C7476A0-CEC9-E52B-B6E8-B24C763387E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97172" y="2195867"/>
            <a:ext cx="817384" cy="818141"/>
            <a:chOff x="1682" y="0"/>
            <a:chExt cx="4316" cy="4320"/>
          </a:xfrm>
        </p:grpSpPr>
        <p:sp>
          <p:nvSpPr>
            <p:cNvPr id="32" name="AutoShape 18">
              <a:extLst>
                <a:ext uri="{FF2B5EF4-FFF2-40B4-BE49-F238E27FC236}">
                  <a16:creationId xmlns:a16="http://schemas.microsoft.com/office/drawing/2014/main" id="{0F99AECE-98EC-19E9-0DF5-4802882674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0">
              <a:extLst>
                <a:ext uri="{FF2B5EF4-FFF2-40B4-BE49-F238E27FC236}">
                  <a16:creationId xmlns:a16="http://schemas.microsoft.com/office/drawing/2014/main" id="{28C93512-4C17-FB98-F50D-61A74C276A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" y="1166"/>
              <a:ext cx="2754" cy="1901"/>
            </a:xfrm>
            <a:custGeom>
              <a:avLst/>
              <a:gdLst>
                <a:gd name="T0" fmla="*/ 1470 w 1470"/>
                <a:gd name="T1" fmla="*/ 0 h 1014"/>
                <a:gd name="T2" fmla="*/ 1470 w 1470"/>
                <a:gd name="T3" fmla="*/ 867 h 1014"/>
                <a:gd name="T4" fmla="*/ 1383 w 1470"/>
                <a:gd name="T5" fmla="*/ 867 h 1014"/>
                <a:gd name="T6" fmla="*/ 1285 w 1470"/>
                <a:gd name="T7" fmla="*/ 359 h 1014"/>
                <a:gd name="T8" fmla="*/ 1147 w 1470"/>
                <a:gd name="T9" fmla="*/ 260 h 1014"/>
                <a:gd name="T10" fmla="*/ 1237 w 1470"/>
                <a:gd name="T11" fmla="*/ 188 h 1014"/>
                <a:gd name="T12" fmla="*/ 1283 w 1470"/>
                <a:gd name="T13" fmla="*/ 196 h 1014"/>
                <a:gd name="T14" fmla="*/ 1412 w 1470"/>
                <a:gd name="T15" fmla="*/ 67 h 1014"/>
                <a:gd name="T16" fmla="*/ 1410 w 1470"/>
                <a:gd name="T17" fmla="*/ 48 h 1014"/>
                <a:gd name="T18" fmla="*/ 1470 w 1470"/>
                <a:gd name="T19" fmla="*/ 0 h 1014"/>
                <a:gd name="T20" fmla="*/ 614 w 1470"/>
                <a:gd name="T21" fmla="*/ 346 h 1014"/>
                <a:gd name="T22" fmla="*/ 641 w 1470"/>
                <a:gd name="T23" fmla="*/ 322 h 1014"/>
                <a:gd name="T24" fmla="*/ 614 w 1470"/>
                <a:gd name="T25" fmla="*/ 325 h 1014"/>
                <a:gd name="T26" fmla="*/ 588 w 1470"/>
                <a:gd name="T27" fmla="*/ 322 h 1014"/>
                <a:gd name="T28" fmla="*/ 476 w 1470"/>
                <a:gd name="T29" fmla="*/ 446 h 1014"/>
                <a:gd name="T30" fmla="*/ 481 w 1470"/>
                <a:gd name="T31" fmla="*/ 484 h 1014"/>
                <a:gd name="T32" fmla="*/ 352 w 1470"/>
                <a:gd name="T33" fmla="*/ 613 h 1014"/>
                <a:gd name="T34" fmla="*/ 280 w 1470"/>
                <a:gd name="T35" fmla="*/ 590 h 1014"/>
                <a:gd name="T36" fmla="*/ 0 w 1470"/>
                <a:gd name="T37" fmla="*/ 720 h 1014"/>
                <a:gd name="T38" fmla="*/ 0 w 1470"/>
                <a:gd name="T39" fmla="*/ 867 h 1014"/>
                <a:gd name="T40" fmla="*/ 503 w 1470"/>
                <a:gd name="T41" fmla="*/ 867 h 1014"/>
                <a:gd name="T42" fmla="*/ 614 w 1470"/>
                <a:gd name="T43" fmla="*/ 346 h 1014"/>
                <a:gd name="T44" fmla="*/ 705 w 1470"/>
                <a:gd name="T45" fmla="*/ 913 h 1014"/>
                <a:gd name="T46" fmla="*/ 943 w 1470"/>
                <a:gd name="T47" fmla="*/ 1014 h 1014"/>
                <a:gd name="T48" fmla="*/ 1144 w 1470"/>
                <a:gd name="T49" fmla="*/ 946 h 1014"/>
                <a:gd name="T50" fmla="*/ 1145 w 1470"/>
                <a:gd name="T51" fmla="*/ 945 h 1014"/>
                <a:gd name="T52" fmla="*/ 1171 w 1470"/>
                <a:gd name="T53" fmla="*/ 922 h 1014"/>
                <a:gd name="T54" fmla="*/ 1199 w 1470"/>
                <a:gd name="T55" fmla="*/ 892 h 1014"/>
                <a:gd name="T56" fmla="*/ 1202 w 1470"/>
                <a:gd name="T57" fmla="*/ 481 h 1014"/>
                <a:gd name="T58" fmla="*/ 1103 w 1470"/>
                <a:gd name="T59" fmla="*/ 560 h 1014"/>
                <a:gd name="T60" fmla="*/ 1106 w 1470"/>
                <a:gd name="T61" fmla="*/ 590 h 1014"/>
                <a:gd name="T62" fmla="*/ 947 w 1470"/>
                <a:gd name="T63" fmla="*/ 749 h 1014"/>
                <a:gd name="T64" fmla="*/ 789 w 1470"/>
                <a:gd name="T65" fmla="*/ 595 h 1014"/>
                <a:gd name="T66" fmla="*/ 652 w 1470"/>
                <a:gd name="T67" fmla="*/ 529 h 1014"/>
                <a:gd name="T68" fmla="*/ 705 w 1470"/>
                <a:gd name="T69" fmla="*/ 913 h 1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70" h="1014">
                  <a:moveTo>
                    <a:pt x="1470" y="0"/>
                  </a:moveTo>
                  <a:cubicBezTo>
                    <a:pt x="1470" y="867"/>
                    <a:pt x="1470" y="867"/>
                    <a:pt x="1470" y="867"/>
                  </a:cubicBezTo>
                  <a:cubicBezTo>
                    <a:pt x="1383" y="867"/>
                    <a:pt x="1383" y="867"/>
                    <a:pt x="1383" y="867"/>
                  </a:cubicBezTo>
                  <a:cubicBezTo>
                    <a:pt x="1452" y="697"/>
                    <a:pt x="1417" y="497"/>
                    <a:pt x="1285" y="359"/>
                  </a:cubicBezTo>
                  <a:cubicBezTo>
                    <a:pt x="1245" y="317"/>
                    <a:pt x="1198" y="284"/>
                    <a:pt x="1147" y="260"/>
                  </a:cubicBezTo>
                  <a:cubicBezTo>
                    <a:pt x="1237" y="188"/>
                    <a:pt x="1237" y="188"/>
                    <a:pt x="1237" y="188"/>
                  </a:cubicBezTo>
                  <a:cubicBezTo>
                    <a:pt x="1252" y="193"/>
                    <a:pt x="1267" y="196"/>
                    <a:pt x="1283" y="196"/>
                  </a:cubicBezTo>
                  <a:cubicBezTo>
                    <a:pt x="1354" y="196"/>
                    <a:pt x="1412" y="138"/>
                    <a:pt x="1412" y="67"/>
                  </a:cubicBezTo>
                  <a:cubicBezTo>
                    <a:pt x="1412" y="61"/>
                    <a:pt x="1411" y="54"/>
                    <a:pt x="1410" y="48"/>
                  </a:cubicBezTo>
                  <a:lnTo>
                    <a:pt x="1470" y="0"/>
                  </a:lnTo>
                  <a:close/>
                  <a:moveTo>
                    <a:pt x="614" y="346"/>
                  </a:moveTo>
                  <a:cubicBezTo>
                    <a:pt x="623" y="338"/>
                    <a:pt x="632" y="329"/>
                    <a:pt x="641" y="322"/>
                  </a:cubicBezTo>
                  <a:cubicBezTo>
                    <a:pt x="632" y="324"/>
                    <a:pt x="623" y="325"/>
                    <a:pt x="614" y="325"/>
                  </a:cubicBezTo>
                  <a:cubicBezTo>
                    <a:pt x="605" y="325"/>
                    <a:pt x="597" y="324"/>
                    <a:pt x="588" y="322"/>
                  </a:cubicBezTo>
                  <a:cubicBezTo>
                    <a:pt x="476" y="446"/>
                    <a:pt x="476" y="446"/>
                    <a:pt x="476" y="446"/>
                  </a:cubicBezTo>
                  <a:cubicBezTo>
                    <a:pt x="479" y="458"/>
                    <a:pt x="481" y="471"/>
                    <a:pt x="481" y="484"/>
                  </a:cubicBezTo>
                  <a:cubicBezTo>
                    <a:pt x="481" y="555"/>
                    <a:pt x="423" y="613"/>
                    <a:pt x="352" y="613"/>
                  </a:cubicBezTo>
                  <a:cubicBezTo>
                    <a:pt x="326" y="613"/>
                    <a:pt x="301" y="605"/>
                    <a:pt x="280" y="590"/>
                  </a:cubicBezTo>
                  <a:cubicBezTo>
                    <a:pt x="0" y="720"/>
                    <a:pt x="0" y="720"/>
                    <a:pt x="0" y="720"/>
                  </a:cubicBezTo>
                  <a:cubicBezTo>
                    <a:pt x="0" y="867"/>
                    <a:pt x="0" y="867"/>
                    <a:pt x="0" y="867"/>
                  </a:cubicBezTo>
                  <a:cubicBezTo>
                    <a:pt x="503" y="867"/>
                    <a:pt x="503" y="867"/>
                    <a:pt x="503" y="867"/>
                  </a:cubicBezTo>
                  <a:cubicBezTo>
                    <a:pt x="433" y="692"/>
                    <a:pt x="471" y="484"/>
                    <a:pt x="614" y="346"/>
                  </a:cubicBezTo>
                  <a:close/>
                  <a:moveTo>
                    <a:pt x="705" y="913"/>
                  </a:moveTo>
                  <a:cubicBezTo>
                    <a:pt x="768" y="978"/>
                    <a:pt x="852" y="1014"/>
                    <a:pt x="943" y="1014"/>
                  </a:cubicBezTo>
                  <a:cubicBezTo>
                    <a:pt x="1015" y="1014"/>
                    <a:pt x="1087" y="990"/>
                    <a:pt x="1144" y="946"/>
                  </a:cubicBezTo>
                  <a:cubicBezTo>
                    <a:pt x="1145" y="945"/>
                    <a:pt x="1145" y="945"/>
                    <a:pt x="1145" y="945"/>
                  </a:cubicBezTo>
                  <a:cubicBezTo>
                    <a:pt x="1153" y="940"/>
                    <a:pt x="1161" y="932"/>
                    <a:pt x="1171" y="922"/>
                  </a:cubicBezTo>
                  <a:cubicBezTo>
                    <a:pt x="1181" y="913"/>
                    <a:pt x="1191" y="903"/>
                    <a:pt x="1199" y="892"/>
                  </a:cubicBezTo>
                  <a:cubicBezTo>
                    <a:pt x="1297" y="772"/>
                    <a:pt x="1296" y="601"/>
                    <a:pt x="1202" y="481"/>
                  </a:cubicBezTo>
                  <a:cubicBezTo>
                    <a:pt x="1103" y="560"/>
                    <a:pt x="1103" y="560"/>
                    <a:pt x="1103" y="560"/>
                  </a:cubicBezTo>
                  <a:cubicBezTo>
                    <a:pt x="1105" y="570"/>
                    <a:pt x="1106" y="580"/>
                    <a:pt x="1106" y="590"/>
                  </a:cubicBezTo>
                  <a:cubicBezTo>
                    <a:pt x="1106" y="677"/>
                    <a:pt x="1035" y="749"/>
                    <a:pt x="947" y="749"/>
                  </a:cubicBezTo>
                  <a:cubicBezTo>
                    <a:pt x="862" y="749"/>
                    <a:pt x="792" y="680"/>
                    <a:pt x="789" y="595"/>
                  </a:cubicBezTo>
                  <a:cubicBezTo>
                    <a:pt x="652" y="529"/>
                    <a:pt x="652" y="529"/>
                    <a:pt x="652" y="529"/>
                  </a:cubicBezTo>
                  <a:cubicBezTo>
                    <a:pt x="587" y="652"/>
                    <a:pt x="604" y="808"/>
                    <a:pt x="705" y="91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FC71434A-9684-3508-5B19-DC4822290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7" y="692"/>
              <a:ext cx="3535" cy="3405"/>
            </a:xfrm>
            <a:custGeom>
              <a:avLst/>
              <a:gdLst>
                <a:gd name="T0" fmla="*/ 1272 w 1887"/>
                <a:gd name="T1" fmla="*/ 1297 h 1816"/>
                <a:gd name="T2" fmla="*/ 1389 w 1887"/>
                <a:gd name="T3" fmla="*/ 1401 h 1816"/>
                <a:gd name="T4" fmla="*/ 1481 w 1887"/>
                <a:gd name="T5" fmla="*/ 1296 h 1816"/>
                <a:gd name="T6" fmla="*/ 1340 w 1887"/>
                <a:gd name="T7" fmla="*/ 644 h 1816"/>
                <a:gd name="T8" fmla="*/ 722 w 1887"/>
                <a:gd name="T9" fmla="*/ 1239 h 1816"/>
                <a:gd name="T10" fmla="*/ 760 w 1887"/>
                <a:gd name="T11" fmla="*/ 1202 h 1816"/>
                <a:gd name="T12" fmla="*/ 1302 w 1887"/>
                <a:gd name="T13" fmla="*/ 681 h 1816"/>
                <a:gd name="T14" fmla="*/ 1291 w 1887"/>
                <a:gd name="T15" fmla="*/ 1212 h 1816"/>
                <a:gd name="T16" fmla="*/ 1752 w 1887"/>
                <a:gd name="T17" fmla="*/ 1816 h 1816"/>
                <a:gd name="T18" fmla="*/ 1405 w 1887"/>
                <a:gd name="T19" fmla="*/ 1477 h 1816"/>
                <a:gd name="T20" fmla="*/ 1528 w 1887"/>
                <a:gd name="T21" fmla="*/ 1327 h 1816"/>
                <a:gd name="T22" fmla="*/ 1559 w 1887"/>
                <a:gd name="T23" fmla="*/ 1327 h 1816"/>
                <a:gd name="T24" fmla="*/ 1878 w 1887"/>
                <a:gd name="T25" fmla="*/ 1714 h 1816"/>
                <a:gd name="T26" fmla="*/ 1752 w 1887"/>
                <a:gd name="T27" fmla="*/ 1816 h 1816"/>
                <a:gd name="T28" fmla="*/ 1746 w 1887"/>
                <a:gd name="T29" fmla="*/ 1770 h 1816"/>
                <a:gd name="T30" fmla="*/ 1837 w 1887"/>
                <a:gd name="T31" fmla="*/ 1700 h 1816"/>
                <a:gd name="T32" fmla="*/ 1543 w 1887"/>
                <a:gd name="T33" fmla="*/ 1374 h 1816"/>
                <a:gd name="T34" fmla="*/ 1624 w 1887"/>
                <a:gd name="T35" fmla="*/ 0 h 1816"/>
                <a:gd name="T36" fmla="*/ 0 w 1887"/>
                <a:gd name="T37" fmla="*/ 22 h 1816"/>
                <a:gd name="T38" fmla="*/ 22 w 1887"/>
                <a:gd name="T39" fmla="*/ 1208 h 1816"/>
                <a:gd name="T40" fmla="*/ 611 w 1887"/>
                <a:gd name="T41" fmla="*/ 1164 h 1816"/>
                <a:gd name="T42" fmla="*/ 44 w 1887"/>
                <a:gd name="T43" fmla="*/ 945 h 1816"/>
                <a:gd name="T44" fmla="*/ 440 w 1887"/>
                <a:gd name="T45" fmla="*/ 830 h 1816"/>
                <a:gd name="T46" fmla="*/ 517 w 1887"/>
                <a:gd name="T47" fmla="*/ 685 h 1816"/>
                <a:gd name="T48" fmla="*/ 702 w 1887"/>
                <a:gd name="T49" fmla="*/ 542 h 1816"/>
                <a:gd name="T50" fmla="*/ 806 w 1887"/>
                <a:gd name="T51" fmla="*/ 523 h 1816"/>
                <a:gd name="T52" fmla="*/ 793 w 1887"/>
                <a:gd name="T53" fmla="*/ 468 h 1816"/>
                <a:gd name="T54" fmla="*/ 702 w 1887"/>
                <a:gd name="T55" fmla="*/ 356 h 1816"/>
                <a:gd name="T56" fmla="*/ 625 w 1887"/>
                <a:gd name="T57" fmla="*/ 501 h 1816"/>
                <a:gd name="T58" fmla="*/ 440 w 1887"/>
                <a:gd name="T59" fmla="*/ 644 h 1816"/>
                <a:gd name="T60" fmla="*/ 349 w 1887"/>
                <a:gd name="T61" fmla="*/ 755 h 1816"/>
                <a:gd name="T62" fmla="*/ 44 w 1887"/>
                <a:gd name="T63" fmla="*/ 44 h 1816"/>
                <a:gd name="T64" fmla="*/ 1602 w 1887"/>
                <a:gd name="T65" fmla="*/ 104 h 1816"/>
                <a:gd name="T66" fmla="*/ 1371 w 1887"/>
                <a:gd name="T67" fmla="*/ 227 h 1816"/>
                <a:gd name="T68" fmla="*/ 1286 w 1887"/>
                <a:gd name="T69" fmla="*/ 359 h 1816"/>
                <a:gd name="T70" fmla="*/ 1189 w 1887"/>
                <a:gd name="T71" fmla="*/ 494 h 1816"/>
                <a:gd name="T72" fmla="*/ 1371 w 1887"/>
                <a:gd name="T73" fmla="*/ 413 h 1816"/>
                <a:gd name="T74" fmla="*/ 1455 w 1887"/>
                <a:gd name="T75" fmla="*/ 280 h 1816"/>
                <a:gd name="T76" fmla="*/ 1602 w 1887"/>
                <a:gd name="T77" fmla="*/ 1164 h 1816"/>
                <a:gd name="T78" fmla="*/ 1438 w 1887"/>
                <a:gd name="T79" fmla="*/ 1185 h 1816"/>
                <a:gd name="T80" fmla="*/ 1624 w 1887"/>
                <a:gd name="T81" fmla="*/ 1208 h 1816"/>
                <a:gd name="T82" fmla="*/ 1646 w 1887"/>
                <a:gd name="T83" fmla="*/ 22 h 1816"/>
                <a:gd name="T84" fmla="*/ 702 w 1887"/>
                <a:gd name="T85" fmla="*/ 400 h 1816"/>
                <a:gd name="T86" fmla="*/ 702 w 1887"/>
                <a:gd name="T87" fmla="*/ 498 h 1816"/>
                <a:gd name="T88" fmla="*/ 702 w 1887"/>
                <a:gd name="T89" fmla="*/ 400 h 1816"/>
                <a:gd name="T90" fmla="*/ 489 w 1887"/>
                <a:gd name="T91" fmla="*/ 737 h 1816"/>
                <a:gd name="T92" fmla="*/ 391 w 1887"/>
                <a:gd name="T93" fmla="*/ 737 h 1816"/>
                <a:gd name="T94" fmla="*/ 1371 w 1887"/>
                <a:gd name="T95" fmla="*/ 369 h 1816"/>
                <a:gd name="T96" fmla="*/ 1371 w 1887"/>
                <a:gd name="T97" fmla="*/ 271 h 1816"/>
                <a:gd name="T98" fmla="*/ 1371 w 1887"/>
                <a:gd name="T99" fmla="*/ 369 h 1816"/>
                <a:gd name="T100" fmla="*/ 1111 w 1887"/>
                <a:gd name="T101" fmla="*/ 750 h 1816"/>
                <a:gd name="T102" fmla="*/ 942 w 1887"/>
                <a:gd name="T103" fmla="*/ 769 h 1816"/>
                <a:gd name="T104" fmla="*/ 766 w 1887"/>
                <a:gd name="T105" fmla="*/ 742 h 1816"/>
                <a:gd name="T106" fmla="*/ 916 w 1887"/>
                <a:gd name="T107" fmla="*/ 843 h 1816"/>
                <a:gd name="T108" fmla="*/ 1155 w 1887"/>
                <a:gd name="T109" fmla="*/ 843 h 1816"/>
                <a:gd name="T110" fmla="*/ 1258 w 1887"/>
                <a:gd name="T111" fmla="*/ 698 h 1816"/>
                <a:gd name="T112" fmla="*/ 1035 w 1887"/>
                <a:gd name="T113" fmla="*/ 915 h 1816"/>
                <a:gd name="T114" fmla="*/ 1035 w 1887"/>
                <a:gd name="T115" fmla="*/ 771 h 1816"/>
                <a:gd name="T116" fmla="*/ 1035 w 1887"/>
                <a:gd name="T117" fmla="*/ 915 h 1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87" h="1816">
                  <a:moveTo>
                    <a:pt x="722" y="1239"/>
                  </a:moveTo>
                  <a:cubicBezTo>
                    <a:pt x="869" y="1392"/>
                    <a:pt x="1103" y="1412"/>
                    <a:pt x="1272" y="1297"/>
                  </a:cubicBezTo>
                  <a:cubicBezTo>
                    <a:pt x="1272" y="1297"/>
                    <a:pt x="1272" y="1297"/>
                    <a:pt x="1372" y="1400"/>
                  </a:cubicBezTo>
                  <a:cubicBezTo>
                    <a:pt x="1377" y="1405"/>
                    <a:pt x="1384" y="1405"/>
                    <a:pt x="1389" y="1401"/>
                  </a:cubicBezTo>
                  <a:cubicBezTo>
                    <a:pt x="1389" y="1401"/>
                    <a:pt x="1389" y="1401"/>
                    <a:pt x="1480" y="1313"/>
                  </a:cubicBezTo>
                  <a:cubicBezTo>
                    <a:pt x="1485" y="1308"/>
                    <a:pt x="1485" y="1301"/>
                    <a:pt x="1481" y="1296"/>
                  </a:cubicBezTo>
                  <a:cubicBezTo>
                    <a:pt x="1481" y="1296"/>
                    <a:pt x="1481" y="1296"/>
                    <a:pt x="1380" y="1191"/>
                  </a:cubicBezTo>
                  <a:cubicBezTo>
                    <a:pt x="1498" y="1026"/>
                    <a:pt x="1485" y="795"/>
                    <a:pt x="1340" y="644"/>
                  </a:cubicBezTo>
                  <a:cubicBezTo>
                    <a:pt x="1176" y="474"/>
                    <a:pt x="904" y="468"/>
                    <a:pt x="734" y="632"/>
                  </a:cubicBezTo>
                  <a:cubicBezTo>
                    <a:pt x="563" y="797"/>
                    <a:pt x="558" y="1068"/>
                    <a:pt x="722" y="1239"/>
                  </a:cubicBezTo>
                  <a:close/>
                  <a:moveTo>
                    <a:pt x="1260" y="1239"/>
                  </a:moveTo>
                  <a:cubicBezTo>
                    <a:pt x="1110" y="1355"/>
                    <a:pt x="894" y="1342"/>
                    <a:pt x="760" y="1202"/>
                  </a:cubicBezTo>
                  <a:cubicBezTo>
                    <a:pt x="617" y="1053"/>
                    <a:pt x="621" y="814"/>
                    <a:pt x="771" y="671"/>
                  </a:cubicBezTo>
                  <a:cubicBezTo>
                    <a:pt x="920" y="527"/>
                    <a:pt x="1158" y="532"/>
                    <a:pt x="1302" y="681"/>
                  </a:cubicBezTo>
                  <a:cubicBezTo>
                    <a:pt x="1434" y="819"/>
                    <a:pt x="1440" y="1033"/>
                    <a:pt x="1323" y="1178"/>
                  </a:cubicBezTo>
                  <a:cubicBezTo>
                    <a:pt x="1313" y="1190"/>
                    <a:pt x="1302" y="1202"/>
                    <a:pt x="1291" y="1212"/>
                  </a:cubicBezTo>
                  <a:cubicBezTo>
                    <a:pt x="1281" y="1222"/>
                    <a:pt x="1271" y="1231"/>
                    <a:pt x="1260" y="1239"/>
                  </a:cubicBezTo>
                  <a:close/>
                  <a:moveTo>
                    <a:pt x="1752" y="1816"/>
                  </a:moveTo>
                  <a:cubicBezTo>
                    <a:pt x="1737" y="1816"/>
                    <a:pt x="1724" y="1811"/>
                    <a:pt x="1714" y="1801"/>
                  </a:cubicBezTo>
                  <a:cubicBezTo>
                    <a:pt x="1405" y="1477"/>
                    <a:pt x="1405" y="1477"/>
                    <a:pt x="1405" y="1477"/>
                  </a:cubicBezTo>
                  <a:cubicBezTo>
                    <a:pt x="1396" y="1468"/>
                    <a:pt x="1396" y="1454"/>
                    <a:pt x="1405" y="1446"/>
                  </a:cubicBezTo>
                  <a:cubicBezTo>
                    <a:pt x="1528" y="1327"/>
                    <a:pt x="1528" y="1327"/>
                    <a:pt x="1528" y="1327"/>
                  </a:cubicBezTo>
                  <a:cubicBezTo>
                    <a:pt x="1533" y="1323"/>
                    <a:pt x="1538" y="1321"/>
                    <a:pt x="1544" y="1321"/>
                  </a:cubicBezTo>
                  <a:cubicBezTo>
                    <a:pt x="1550" y="1321"/>
                    <a:pt x="1555" y="1323"/>
                    <a:pt x="1559" y="1327"/>
                  </a:cubicBezTo>
                  <a:cubicBezTo>
                    <a:pt x="1870" y="1652"/>
                    <a:pt x="1870" y="1652"/>
                    <a:pt x="1870" y="1652"/>
                  </a:cubicBezTo>
                  <a:cubicBezTo>
                    <a:pt x="1884" y="1667"/>
                    <a:pt x="1887" y="1689"/>
                    <a:pt x="1878" y="1714"/>
                  </a:cubicBezTo>
                  <a:cubicBezTo>
                    <a:pt x="1871" y="1735"/>
                    <a:pt x="1857" y="1756"/>
                    <a:pt x="1838" y="1774"/>
                  </a:cubicBezTo>
                  <a:cubicBezTo>
                    <a:pt x="1810" y="1801"/>
                    <a:pt x="1778" y="1816"/>
                    <a:pt x="1752" y="1816"/>
                  </a:cubicBezTo>
                  <a:close/>
                  <a:moveTo>
                    <a:pt x="1451" y="1462"/>
                  </a:moveTo>
                  <a:cubicBezTo>
                    <a:pt x="1746" y="1770"/>
                    <a:pt x="1746" y="1770"/>
                    <a:pt x="1746" y="1770"/>
                  </a:cubicBezTo>
                  <a:cubicBezTo>
                    <a:pt x="1750" y="1774"/>
                    <a:pt x="1777" y="1772"/>
                    <a:pt x="1808" y="1743"/>
                  </a:cubicBezTo>
                  <a:cubicBezTo>
                    <a:pt x="1821" y="1729"/>
                    <a:pt x="1832" y="1714"/>
                    <a:pt x="1837" y="1700"/>
                  </a:cubicBezTo>
                  <a:cubicBezTo>
                    <a:pt x="1840" y="1690"/>
                    <a:pt x="1839" y="1684"/>
                    <a:pt x="1838" y="1682"/>
                  </a:cubicBezTo>
                  <a:cubicBezTo>
                    <a:pt x="1543" y="1374"/>
                    <a:pt x="1543" y="1374"/>
                    <a:pt x="1543" y="1374"/>
                  </a:cubicBezTo>
                  <a:lnTo>
                    <a:pt x="1451" y="1462"/>
                  </a:lnTo>
                  <a:close/>
                  <a:moveTo>
                    <a:pt x="1624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186"/>
                    <a:pt x="0" y="1186"/>
                    <a:pt x="0" y="1186"/>
                  </a:cubicBezTo>
                  <a:cubicBezTo>
                    <a:pt x="0" y="1198"/>
                    <a:pt x="10" y="1208"/>
                    <a:pt x="22" y="1208"/>
                  </a:cubicBezTo>
                  <a:cubicBezTo>
                    <a:pt x="638" y="1208"/>
                    <a:pt x="638" y="1208"/>
                    <a:pt x="638" y="1208"/>
                  </a:cubicBezTo>
                  <a:cubicBezTo>
                    <a:pt x="628" y="1193"/>
                    <a:pt x="619" y="1179"/>
                    <a:pt x="611" y="1164"/>
                  </a:cubicBezTo>
                  <a:cubicBezTo>
                    <a:pt x="44" y="1164"/>
                    <a:pt x="44" y="1164"/>
                    <a:pt x="44" y="1164"/>
                  </a:cubicBezTo>
                  <a:cubicBezTo>
                    <a:pt x="44" y="945"/>
                    <a:pt x="44" y="945"/>
                    <a:pt x="44" y="945"/>
                  </a:cubicBezTo>
                  <a:cubicBezTo>
                    <a:pt x="368" y="795"/>
                    <a:pt x="368" y="795"/>
                    <a:pt x="368" y="795"/>
                  </a:cubicBezTo>
                  <a:cubicBezTo>
                    <a:pt x="385" y="816"/>
                    <a:pt x="411" y="830"/>
                    <a:pt x="440" y="830"/>
                  </a:cubicBezTo>
                  <a:cubicBezTo>
                    <a:pt x="492" y="830"/>
                    <a:pt x="533" y="788"/>
                    <a:pt x="533" y="737"/>
                  </a:cubicBezTo>
                  <a:cubicBezTo>
                    <a:pt x="533" y="718"/>
                    <a:pt x="527" y="700"/>
                    <a:pt x="517" y="685"/>
                  </a:cubicBezTo>
                  <a:cubicBezTo>
                    <a:pt x="658" y="530"/>
                    <a:pt x="658" y="530"/>
                    <a:pt x="658" y="530"/>
                  </a:cubicBezTo>
                  <a:cubicBezTo>
                    <a:pt x="671" y="538"/>
                    <a:pt x="686" y="542"/>
                    <a:pt x="702" y="542"/>
                  </a:cubicBezTo>
                  <a:cubicBezTo>
                    <a:pt x="731" y="542"/>
                    <a:pt x="757" y="528"/>
                    <a:pt x="774" y="508"/>
                  </a:cubicBezTo>
                  <a:cubicBezTo>
                    <a:pt x="806" y="523"/>
                    <a:pt x="806" y="523"/>
                    <a:pt x="806" y="523"/>
                  </a:cubicBezTo>
                  <a:cubicBezTo>
                    <a:pt x="823" y="514"/>
                    <a:pt x="840" y="506"/>
                    <a:pt x="858" y="499"/>
                  </a:cubicBezTo>
                  <a:cubicBezTo>
                    <a:pt x="793" y="468"/>
                    <a:pt x="793" y="468"/>
                    <a:pt x="793" y="468"/>
                  </a:cubicBezTo>
                  <a:cubicBezTo>
                    <a:pt x="794" y="462"/>
                    <a:pt x="795" y="455"/>
                    <a:pt x="795" y="449"/>
                  </a:cubicBezTo>
                  <a:cubicBezTo>
                    <a:pt x="795" y="397"/>
                    <a:pt x="753" y="356"/>
                    <a:pt x="702" y="356"/>
                  </a:cubicBezTo>
                  <a:cubicBezTo>
                    <a:pt x="651" y="356"/>
                    <a:pt x="609" y="397"/>
                    <a:pt x="609" y="449"/>
                  </a:cubicBezTo>
                  <a:cubicBezTo>
                    <a:pt x="609" y="468"/>
                    <a:pt x="615" y="486"/>
                    <a:pt x="625" y="501"/>
                  </a:cubicBezTo>
                  <a:cubicBezTo>
                    <a:pt x="485" y="655"/>
                    <a:pt x="485" y="655"/>
                    <a:pt x="485" y="655"/>
                  </a:cubicBezTo>
                  <a:cubicBezTo>
                    <a:pt x="471" y="648"/>
                    <a:pt x="456" y="644"/>
                    <a:pt x="440" y="644"/>
                  </a:cubicBezTo>
                  <a:cubicBezTo>
                    <a:pt x="389" y="644"/>
                    <a:pt x="347" y="686"/>
                    <a:pt x="347" y="737"/>
                  </a:cubicBezTo>
                  <a:cubicBezTo>
                    <a:pt x="347" y="743"/>
                    <a:pt x="348" y="749"/>
                    <a:pt x="349" y="755"/>
                  </a:cubicBezTo>
                  <a:cubicBezTo>
                    <a:pt x="44" y="896"/>
                    <a:pt x="44" y="896"/>
                    <a:pt x="44" y="89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02" y="44"/>
                    <a:pt x="1602" y="44"/>
                    <a:pt x="1602" y="44"/>
                  </a:cubicBezTo>
                  <a:cubicBezTo>
                    <a:pt x="1602" y="104"/>
                    <a:pt x="1602" y="104"/>
                    <a:pt x="1602" y="104"/>
                  </a:cubicBezTo>
                  <a:cubicBezTo>
                    <a:pt x="1427" y="246"/>
                    <a:pt x="1427" y="246"/>
                    <a:pt x="1427" y="246"/>
                  </a:cubicBezTo>
                  <a:cubicBezTo>
                    <a:pt x="1411" y="234"/>
                    <a:pt x="1392" y="227"/>
                    <a:pt x="1371" y="227"/>
                  </a:cubicBezTo>
                  <a:cubicBezTo>
                    <a:pt x="1319" y="227"/>
                    <a:pt x="1278" y="269"/>
                    <a:pt x="1278" y="320"/>
                  </a:cubicBezTo>
                  <a:cubicBezTo>
                    <a:pt x="1278" y="334"/>
                    <a:pt x="1281" y="347"/>
                    <a:pt x="1286" y="359"/>
                  </a:cubicBezTo>
                  <a:cubicBezTo>
                    <a:pt x="1137" y="479"/>
                    <a:pt x="1137" y="479"/>
                    <a:pt x="1137" y="479"/>
                  </a:cubicBezTo>
                  <a:cubicBezTo>
                    <a:pt x="1155" y="483"/>
                    <a:pt x="1172" y="488"/>
                    <a:pt x="1189" y="494"/>
                  </a:cubicBezTo>
                  <a:cubicBezTo>
                    <a:pt x="1314" y="394"/>
                    <a:pt x="1314" y="394"/>
                    <a:pt x="1314" y="394"/>
                  </a:cubicBezTo>
                  <a:cubicBezTo>
                    <a:pt x="1330" y="406"/>
                    <a:pt x="1349" y="413"/>
                    <a:pt x="1371" y="413"/>
                  </a:cubicBezTo>
                  <a:cubicBezTo>
                    <a:pt x="1422" y="413"/>
                    <a:pt x="1464" y="371"/>
                    <a:pt x="1464" y="320"/>
                  </a:cubicBezTo>
                  <a:cubicBezTo>
                    <a:pt x="1464" y="306"/>
                    <a:pt x="1460" y="292"/>
                    <a:pt x="1455" y="280"/>
                  </a:cubicBezTo>
                  <a:cubicBezTo>
                    <a:pt x="1602" y="160"/>
                    <a:pt x="1602" y="160"/>
                    <a:pt x="1602" y="160"/>
                  </a:cubicBezTo>
                  <a:cubicBezTo>
                    <a:pt x="1602" y="1164"/>
                    <a:pt x="1602" y="1164"/>
                    <a:pt x="1602" y="1164"/>
                  </a:cubicBezTo>
                  <a:cubicBezTo>
                    <a:pt x="1450" y="1164"/>
                    <a:pt x="1450" y="1164"/>
                    <a:pt x="1450" y="1164"/>
                  </a:cubicBezTo>
                  <a:cubicBezTo>
                    <a:pt x="1446" y="1171"/>
                    <a:pt x="1442" y="1178"/>
                    <a:pt x="1438" y="1185"/>
                  </a:cubicBezTo>
                  <a:cubicBezTo>
                    <a:pt x="1460" y="1208"/>
                    <a:pt x="1460" y="1208"/>
                    <a:pt x="1460" y="1208"/>
                  </a:cubicBezTo>
                  <a:cubicBezTo>
                    <a:pt x="1624" y="1208"/>
                    <a:pt x="1624" y="1208"/>
                    <a:pt x="1624" y="1208"/>
                  </a:cubicBezTo>
                  <a:cubicBezTo>
                    <a:pt x="1636" y="1208"/>
                    <a:pt x="1646" y="1198"/>
                    <a:pt x="1646" y="1186"/>
                  </a:cubicBezTo>
                  <a:cubicBezTo>
                    <a:pt x="1646" y="22"/>
                    <a:pt x="1646" y="22"/>
                    <a:pt x="1646" y="22"/>
                  </a:cubicBezTo>
                  <a:cubicBezTo>
                    <a:pt x="1646" y="10"/>
                    <a:pt x="1636" y="0"/>
                    <a:pt x="1624" y="0"/>
                  </a:cubicBezTo>
                  <a:close/>
                  <a:moveTo>
                    <a:pt x="702" y="400"/>
                  </a:moveTo>
                  <a:cubicBezTo>
                    <a:pt x="729" y="400"/>
                    <a:pt x="751" y="422"/>
                    <a:pt x="751" y="449"/>
                  </a:cubicBezTo>
                  <a:cubicBezTo>
                    <a:pt x="751" y="476"/>
                    <a:pt x="729" y="498"/>
                    <a:pt x="702" y="498"/>
                  </a:cubicBezTo>
                  <a:cubicBezTo>
                    <a:pt x="675" y="498"/>
                    <a:pt x="653" y="476"/>
                    <a:pt x="653" y="449"/>
                  </a:cubicBezTo>
                  <a:cubicBezTo>
                    <a:pt x="653" y="422"/>
                    <a:pt x="675" y="400"/>
                    <a:pt x="702" y="400"/>
                  </a:cubicBezTo>
                  <a:close/>
                  <a:moveTo>
                    <a:pt x="440" y="688"/>
                  </a:moveTo>
                  <a:cubicBezTo>
                    <a:pt x="467" y="688"/>
                    <a:pt x="489" y="710"/>
                    <a:pt x="489" y="737"/>
                  </a:cubicBezTo>
                  <a:cubicBezTo>
                    <a:pt x="489" y="764"/>
                    <a:pt x="467" y="786"/>
                    <a:pt x="440" y="786"/>
                  </a:cubicBezTo>
                  <a:cubicBezTo>
                    <a:pt x="413" y="786"/>
                    <a:pt x="391" y="764"/>
                    <a:pt x="391" y="737"/>
                  </a:cubicBezTo>
                  <a:cubicBezTo>
                    <a:pt x="391" y="710"/>
                    <a:pt x="413" y="688"/>
                    <a:pt x="440" y="688"/>
                  </a:cubicBezTo>
                  <a:close/>
                  <a:moveTo>
                    <a:pt x="1371" y="369"/>
                  </a:moveTo>
                  <a:cubicBezTo>
                    <a:pt x="1344" y="369"/>
                    <a:pt x="1322" y="347"/>
                    <a:pt x="1322" y="320"/>
                  </a:cubicBezTo>
                  <a:cubicBezTo>
                    <a:pt x="1322" y="293"/>
                    <a:pt x="1344" y="271"/>
                    <a:pt x="1371" y="271"/>
                  </a:cubicBezTo>
                  <a:cubicBezTo>
                    <a:pt x="1398" y="271"/>
                    <a:pt x="1420" y="293"/>
                    <a:pt x="1420" y="320"/>
                  </a:cubicBezTo>
                  <a:cubicBezTo>
                    <a:pt x="1420" y="347"/>
                    <a:pt x="1398" y="369"/>
                    <a:pt x="1371" y="369"/>
                  </a:cubicBezTo>
                  <a:close/>
                  <a:moveTo>
                    <a:pt x="1217" y="665"/>
                  </a:moveTo>
                  <a:cubicBezTo>
                    <a:pt x="1111" y="750"/>
                    <a:pt x="1111" y="750"/>
                    <a:pt x="1111" y="750"/>
                  </a:cubicBezTo>
                  <a:cubicBezTo>
                    <a:pt x="1090" y="733"/>
                    <a:pt x="1064" y="723"/>
                    <a:pt x="1035" y="723"/>
                  </a:cubicBezTo>
                  <a:cubicBezTo>
                    <a:pt x="997" y="723"/>
                    <a:pt x="963" y="741"/>
                    <a:pt x="942" y="769"/>
                  </a:cubicBezTo>
                  <a:cubicBezTo>
                    <a:pt x="801" y="701"/>
                    <a:pt x="801" y="701"/>
                    <a:pt x="801" y="701"/>
                  </a:cubicBezTo>
                  <a:cubicBezTo>
                    <a:pt x="788" y="714"/>
                    <a:pt x="776" y="727"/>
                    <a:pt x="766" y="742"/>
                  </a:cubicBezTo>
                  <a:cubicBezTo>
                    <a:pt x="919" y="816"/>
                    <a:pt x="919" y="816"/>
                    <a:pt x="919" y="816"/>
                  </a:cubicBezTo>
                  <a:cubicBezTo>
                    <a:pt x="917" y="824"/>
                    <a:pt x="916" y="834"/>
                    <a:pt x="916" y="843"/>
                  </a:cubicBezTo>
                  <a:cubicBezTo>
                    <a:pt x="916" y="909"/>
                    <a:pt x="969" y="963"/>
                    <a:pt x="1035" y="963"/>
                  </a:cubicBezTo>
                  <a:cubicBezTo>
                    <a:pt x="1102" y="963"/>
                    <a:pt x="1155" y="909"/>
                    <a:pt x="1155" y="843"/>
                  </a:cubicBezTo>
                  <a:cubicBezTo>
                    <a:pt x="1155" y="824"/>
                    <a:pt x="1151" y="806"/>
                    <a:pt x="1143" y="790"/>
                  </a:cubicBezTo>
                  <a:cubicBezTo>
                    <a:pt x="1258" y="698"/>
                    <a:pt x="1258" y="698"/>
                    <a:pt x="1258" y="698"/>
                  </a:cubicBezTo>
                  <a:cubicBezTo>
                    <a:pt x="1245" y="686"/>
                    <a:pt x="1231" y="675"/>
                    <a:pt x="1217" y="665"/>
                  </a:cubicBezTo>
                  <a:close/>
                  <a:moveTo>
                    <a:pt x="1035" y="915"/>
                  </a:moveTo>
                  <a:cubicBezTo>
                    <a:pt x="996" y="915"/>
                    <a:pt x="964" y="883"/>
                    <a:pt x="964" y="843"/>
                  </a:cubicBezTo>
                  <a:cubicBezTo>
                    <a:pt x="964" y="803"/>
                    <a:pt x="996" y="771"/>
                    <a:pt x="1035" y="771"/>
                  </a:cubicBezTo>
                  <a:cubicBezTo>
                    <a:pt x="1075" y="771"/>
                    <a:pt x="1107" y="803"/>
                    <a:pt x="1107" y="843"/>
                  </a:cubicBezTo>
                  <a:cubicBezTo>
                    <a:pt x="1107" y="883"/>
                    <a:pt x="1075" y="915"/>
                    <a:pt x="1035" y="9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7" name="bcgIcons_Global">
            <a:extLst>
              <a:ext uri="{FF2B5EF4-FFF2-40B4-BE49-F238E27FC236}">
                <a16:creationId xmlns:a16="http://schemas.microsoft.com/office/drawing/2014/main" id="{D4A77D09-7310-A364-68AD-C0B352E1DA2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97173" y="593759"/>
            <a:ext cx="817383" cy="818141"/>
            <a:chOff x="1682" y="0"/>
            <a:chExt cx="4316" cy="4320"/>
          </a:xfrm>
        </p:grpSpPr>
        <p:sp>
          <p:nvSpPr>
            <p:cNvPr id="38" name="AutoShape 28">
              <a:extLst>
                <a:ext uri="{FF2B5EF4-FFF2-40B4-BE49-F238E27FC236}">
                  <a16:creationId xmlns:a16="http://schemas.microsoft.com/office/drawing/2014/main" id="{6BF42A22-AC1E-B15B-8032-9CBE1C82EEB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AU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83DD6BE6-512E-5864-50F2-9D1BC3C38F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8" y="444"/>
              <a:ext cx="3424" cy="3428"/>
            </a:xfrm>
            <a:custGeom>
              <a:avLst/>
              <a:gdLst>
                <a:gd name="T0" fmla="*/ 914 w 1828"/>
                <a:gd name="T1" fmla="*/ 1828 h 1828"/>
                <a:gd name="T2" fmla="*/ 268 w 1828"/>
                <a:gd name="T3" fmla="*/ 1560 h 1828"/>
                <a:gd name="T4" fmla="*/ 0 w 1828"/>
                <a:gd name="T5" fmla="*/ 914 h 1828"/>
                <a:gd name="T6" fmla="*/ 268 w 1828"/>
                <a:gd name="T7" fmla="*/ 268 h 1828"/>
                <a:gd name="T8" fmla="*/ 914 w 1828"/>
                <a:gd name="T9" fmla="*/ 0 h 1828"/>
                <a:gd name="T10" fmla="*/ 1560 w 1828"/>
                <a:gd name="T11" fmla="*/ 268 h 1828"/>
                <a:gd name="T12" fmla="*/ 1828 w 1828"/>
                <a:gd name="T13" fmla="*/ 914 h 1828"/>
                <a:gd name="T14" fmla="*/ 1560 w 1828"/>
                <a:gd name="T15" fmla="*/ 1560 h 1828"/>
                <a:gd name="T16" fmla="*/ 914 w 1828"/>
                <a:gd name="T17" fmla="*/ 1828 h 1828"/>
                <a:gd name="T18" fmla="*/ 914 w 1828"/>
                <a:gd name="T19" fmla="*/ 44 h 1828"/>
                <a:gd name="T20" fmla="*/ 44 w 1828"/>
                <a:gd name="T21" fmla="*/ 914 h 1828"/>
                <a:gd name="T22" fmla="*/ 914 w 1828"/>
                <a:gd name="T23" fmla="*/ 1784 h 1828"/>
                <a:gd name="T24" fmla="*/ 1784 w 1828"/>
                <a:gd name="T25" fmla="*/ 914 h 1828"/>
                <a:gd name="T26" fmla="*/ 914 w 1828"/>
                <a:gd name="T27" fmla="*/ 44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28" h="1828">
                  <a:moveTo>
                    <a:pt x="914" y="1828"/>
                  </a:moveTo>
                  <a:cubicBezTo>
                    <a:pt x="670" y="1828"/>
                    <a:pt x="440" y="1733"/>
                    <a:pt x="268" y="1560"/>
                  </a:cubicBezTo>
                  <a:cubicBezTo>
                    <a:pt x="95" y="1388"/>
                    <a:pt x="0" y="1158"/>
                    <a:pt x="0" y="914"/>
                  </a:cubicBezTo>
                  <a:cubicBezTo>
                    <a:pt x="0" y="670"/>
                    <a:pt x="95" y="440"/>
                    <a:pt x="268" y="268"/>
                  </a:cubicBezTo>
                  <a:cubicBezTo>
                    <a:pt x="440" y="95"/>
                    <a:pt x="670" y="0"/>
                    <a:pt x="914" y="0"/>
                  </a:cubicBezTo>
                  <a:cubicBezTo>
                    <a:pt x="1158" y="0"/>
                    <a:pt x="1388" y="95"/>
                    <a:pt x="1560" y="268"/>
                  </a:cubicBezTo>
                  <a:cubicBezTo>
                    <a:pt x="1733" y="440"/>
                    <a:pt x="1828" y="670"/>
                    <a:pt x="1828" y="914"/>
                  </a:cubicBezTo>
                  <a:cubicBezTo>
                    <a:pt x="1828" y="1158"/>
                    <a:pt x="1733" y="1388"/>
                    <a:pt x="1560" y="1560"/>
                  </a:cubicBezTo>
                  <a:cubicBezTo>
                    <a:pt x="1388" y="1733"/>
                    <a:pt x="1158" y="1828"/>
                    <a:pt x="914" y="1828"/>
                  </a:cubicBezTo>
                  <a:close/>
                  <a:moveTo>
                    <a:pt x="914" y="44"/>
                  </a:moveTo>
                  <a:cubicBezTo>
                    <a:pt x="434" y="44"/>
                    <a:pt x="44" y="434"/>
                    <a:pt x="44" y="914"/>
                  </a:cubicBezTo>
                  <a:cubicBezTo>
                    <a:pt x="44" y="1394"/>
                    <a:pt x="434" y="1784"/>
                    <a:pt x="914" y="1784"/>
                  </a:cubicBezTo>
                  <a:cubicBezTo>
                    <a:pt x="1394" y="1784"/>
                    <a:pt x="1784" y="1394"/>
                    <a:pt x="1784" y="914"/>
                  </a:cubicBezTo>
                  <a:cubicBezTo>
                    <a:pt x="1784" y="434"/>
                    <a:pt x="1394" y="44"/>
                    <a:pt x="914" y="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AU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69358F8A-3551-A059-F990-B7B600C70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3" y="609"/>
              <a:ext cx="3094" cy="3098"/>
            </a:xfrm>
            <a:custGeom>
              <a:avLst/>
              <a:gdLst>
                <a:gd name="T0" fmla="*/ 1408 w 1652"/>
                <a:gd name="T1" fmla="*/ 241 h 1652"/>
                <a:gd name="T2" fmla="*/ 1227 w 1652"/>
                <a:gd name="T3" fmla="*/ 278 h 1652"/>
                <a:gd name="T4" fmla="*/ 1189 w 1652"/>
                <a:gd name="T5" fmla="*/ 209 h 1652"/>
                <a:gd name="T6" fmla="*/ 882 w 1652"/>
                <a:gd name="T7" fmla="*/ 372 h 1652"/>
                <a:gd name="T8" fmla="*/ 1184 w 1652"/>
                <a:gd name="T9" fmla="*/ 295 h 1652"/>
                <a:gd name="T10" fmla="*/ 909 w 1652"/>
                <a:gd name="T11" fmla="*/ 4 h 1652"/>
                <a:gd name="T12" fmla="*/ 848 w 1652"/>
                <a:gd name="T13" fmla="*/ 338 h 1652"/>
                <a:gd name="T14" fmla="*/ 804 w 1652"/>
                <a:gd name="T15" fmla="*/ 452 h 1652"/>
                <a:gd name="T16" fmla="*/ 475 w 1652"/>
                <a:gd name="T17" fmla="*/ 375 h 1652"/>
                <a:gd name="T18" fmla="*/ 362 w 1652"/>
                <a:gd name="T19" fmla="*/ 770 h 1652"/>
                <a:gd name="T20" fmla="*/ 769 w 1652"/>
                <a:gd name="T21" fmla="*/ 804 h 1652"/>
                <a:gd name="T22" fmla="*/ 804 w 1652"/>
                <a:gd name="T23" fmla="*/ 452 h 1652"/>
                <a:gd name="T24" fmla="*/ 1177 w 1652"/>
                <a:gd name="T25" fmla="*/ 375 h 1652"/>
                <a:gd name="T26" fmla="*/ 848 w 1652"/>
                <a:gd name="T27" fmla="*/ 452 h 1652"/>
                <a:gd name="T28" fmla="*/ 883 w 1652"/>
                <a:gd name="T29" fmla="*/ 804 h 1652"/>
                <a:gd name="T30" fmla="*/ 1290 w 1652"/>
                <a:gd name="T31" fmla="*/ 770 h 1652"/>
                <a:gd name="T32" fmla="*/ 769 w 1652"/>
                <a:gd name="T33" fmla="*/ 848 h 1652"/>
                <a:gd name="T34" fmla="*/ 362 w 1652"/>
                <a:gd name="T35" fmla="*/ 882 h 1652"/>
                <a:gd name="T36" fmla="*/ 475 w 1652"/>
                <a:gd name="T37" fmla="*/ 1277 h 1652"/>
                <a:gd name="T38" fmla="*/ 804 w 1652"/>
                <a:gd name="T39" fmla="*/ 1200 h 1652"/>
                <a:gd name="T40" fmla="*/ 769 w 1652"/>
                <a:gd name="T41" fmla="*/ 848 h 1652"/>
                <a:gd name="T42" fmla="*/ 1184 w 1652"/>
                <a:gd name="T43" fmla="*/ 1357 h 1652"/>
                <a:gd name="T44" fmla="*/ 882 w 1652"/>
                <a:gd name="T45" fmla="*/ 1280 h 1652"/>
                <a:gd name="T46" fmla="*/ 848 w 1652"/>
                <a:gd name="T47" fmla="*/ 1652 h 1652"/>
                <a:gd name="T48" fmla="*/ 1151 w 1652"/>
                <a:gd name="T49" fmla="*/ 1421 h 1652"/>
                <a:gd name="T50" fmla="*/ 1256 w 1652"/>
                <a:gd name="T51" fmla="*/ 848 h 1652"/>
                <a:gd name="T52" fmla="*/ 848 w 1652"/>
                <a:gd name="T53" fmla="*/ 883 h 1652"/>
                <a:gd name="T54" fmla="*/ 883 w 1652"/>
                <a:gd name="T55" fmla="*/ 1236 h 1652"/>
                <a:gd name="T56" fmla="*/ 1225 w 1652"/>
                <a:gd name="T57" fmla="*/ 1252 h 1652"/>
                <a:gd name="T58" fmla="*/ 1267 w 1652"/>
                <a:gd name="T59" fmla="*/ 385 h 1652"/>
                <a:gd name="T60" fmla="*/ 1370 w 1652"/>
                <a:gd name="T61" fmla="*/ 804 h 1652"/>
                <a:gd name="T62" fmla="*/ 1440 w 1652"/>
                <a:gd name="T63" fmla="*/ 274 h 1652"/>
                <a:gd name="T64" fmla="*/ 1267 w 1652"/>
                <a:gd name="T65" fmla="*/ 385 h 1652"/>
                <a:gd name="T66" fmla="*/ 1227 w 1652"/>
                <a:gd name="T67" fmla="*/ 1374 h 1652"/>
                <a:gd name="T68" fmla="*/ 1189 w 1652"/>
                <a:gd name="T69" fmla="*/ 1443 h 1652"/>
                <a:gd name="T70" fmla="*/ 1408 w 1652"/>
                <a:gd name="T71" fmla="*/ 1411 h 1652"/>
                <a:gd name="T72" fmla="*/ 463 w 1652"/>
                <a:gd name="T73" fmla="*/ 1443 h 1652"/>
                <a:gd name="T74" fmla="*/ 426 w 1652"/>
                <a:gd name="T75" fmla="*/ 1374 h 1652"/>
                <a:gd name="T76" fmla="*/ 244 w 1652"/>
                <a:gd name="T77" fmla="*/ 1411 h 1652"/>
                <a:gd name="T78" fmla="*/ 463 w 1652"/>
                <a:gd name="T79" fmla="*/ 1443 h 1652"/>
                <a:gd name="T80" fmla="*/ 486 w 1652"/>
                <a:gd name="T81" fmla="*/ 1319 h 1652"/>
                <a:gd name="T82" fmla="*/ 501 w 1652"/>
                <a:gd name="T83" fmla="*/ 1421 h 1652"/>
                <a:gd name="T84" fmla="*/ 804 w 1652"/>
                <a:gd name="T85" fmla="*/ 1652 h 1652"/>
                <a:gd name="T86" fmla="*/ 770 w 1652"/>
                <a:gd name="T87" fmla="*/ 1280 h 1652"/>
                <a:gd name="T88" fmla="*/ 1334 w 1652"/>
                <a:gd name="T89" fmla="*/ 883 h 1652"/>
                <a:gd name="T90" fmla="*/ 1287 w 1652"/>
                <a:gd name="T91" fmla="*/ 1310 h 1652"/>
                <a:gd name="T92" fmla="*/ 1652 w 1652"/>
                <a:gd name="T93" fmla="*/ 848 h 1652"/>
                <a:gd name="T94" fmla="*/ 804 w 1652"/>
                <a:gd name="T95" fmla="*/ 0 h 1652"/>
                <a:gd name="T96" fmla="*/ 501 w 1652"/>
                <a:gd name="T97" fmla="*/ 231 h 1652"/>
                <a:gd name="T98" fmla="*/ 486 w 1652"/>
                <a:gd name="T99" fmla="*/ 333 h 1652"/>
                <a:gd name="T100" fmla="*/ 804 w 1652"/>
                <a:gd name="T101" fmla="*/ 338 h 1652"/>
                <a:gd name="T102" fmla="*/ 378 w 1652"/>
                <a:gd name="T103" fmla="*/ 300 h 1652"/>
                <a:gd name="T104" fmla="*/ 427 w 1652"/>
                <a:gd name="T105" fmla="*/ 278 h 1652"/>
                <a:gd name="T106" fmla="*/ 610 w 1652"/>
                <a:gd name="T107" fmla="*/ 29 h 1652"/>
                <a:gd name="T108" fmla="*/ 378 w 1652"/>
                <a:gd name="T109" fmla="*/ 300 h 1652"/>
                <a:gd name="T110" fmla="*/ 318 w 1652"/>
                <a:gd name="T111" fmla="*/ 769 h 1652"/>
                <a:gd name="T112" fmla="*/ 365 w 1652"/>
                <a:gd name="T113" fmla="*/ 342 h 1652"/>
                <a:gd name="T114" fmla="*/ 0 w 1652"/>
                <a:gd name="T115" fmla="*/ 804 h 1652"/>
                <a:gd name="T116" fmla="*/ 385 w 1652"/>
                <a:gd name="T117" fmla="*/ 1267 h 1652"/>
                <a:gd name="T118" fmla="*/ 282 w 1652"/>
                <a:gd name="T119" fmla="*/ 848 h 1652"/>
                <a:gd name="T120" fmla="*/ 212 w 1652"/>
                <a:gd name="T121" fmla="*/ 1378 h 1652"/>
                <a:gd name="T122" fmla="*/ 385 w 1652"/>
                <a:gd name="T123" fmla="*/ 1267 h 1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52" h="1652">
                  <a:moveTo>
                    <a:pt x="1042" y="29"/>
                  </a:moveTo>
                  <a:cubicBezTo>
                    <a:pt x="1182" y="67"/>
                    <a:pt x="1308" y="141"/>
                    <a:pt x="1408" y="241"/>
                  </a:cubicBezTo>
                  <a:cubicBezTo>
                    <a:pt x="1367" y="263"/>
                    <a:pt x="1321" y="283"/>
                    <a:pt x="1274" y="300"/>
                  </a:cubicBezTo>
                  <a:cubicBezTo>
                    <a:pt x="1262" y="287"/>
                    <a:pt x="1245" y="278"/>
                    <a:pt x="1227" y="278"/>
                  </a:cubicBezTo>
                  <a:cubicBezTo>
                    <a:pt x="1226" y="278"/>
                    <a:pt x="1225" y="278"/>
                    <a:pt x="1225" y="278"/>
                  </a:cubicBezTo>
                  <a:cubicBezTo>
                    <a:pt x="1214" y="254"/>
                    <a:pt x="1202" y="231"/>
                    <a:pt x="1189" y="209"/>
                  </a:cubicBezTo>
                  <a:cubicBezTo>
                    <a:pt x="1146" y="133"/>
                    <a:pt x="1096" y="73"/>
                    <a:pt x="1042" y="29"/>
                  </a:cubicBezTo>
                  <a:close/>
                  <a:moveTo>
                    <a:pt x="882" y="372"/>
                  </a:moveTo>
                  <a:cubicBezTo>
                    <a:pt x="981" y="368"/>
                    <a:pt x="1077" y="355"/>
                    <a:pt x="1166" y="333"/>
                  </a:cubicBezTo>
                  <a:cubicBezTo>
                    <a:pt x="1167" y="318"/>
                    <a:pt x="1174" y="305"/>
                    <a:pt x="1184" y="295"/>
                  </a:cubicBezTo>
                  <a:cubicBezTo>
                    <a:pt x="1174" y="273"/>
                    <a:pt x="1163" y="251"/>
                    <a:pt x="1151" y="231"/>
                  </a:cubicBezTo>
                  <a:cubicBezTo>
                    <a:pt x="1083" y="112"/>
                    <a:pt x="1000" y="34"/>
                    <a:pt x="909" y="4"/>
                  </a:cubicBezTo>
                  <a:cubicBezTo>
                    <a:pt x="889" y="2"/>
                    <a:pt x="869" y="1"/>
                    <a:pt x="848" y="0"/>
                  </a:cubicBezTo>
                  <a:cubicBezTo>
                    <a:pt x="848" y="338"/>
                    <a:pt x="848" y="338"/>
                    <a:pt x="848" y="338"/>
                  </a:cubicBezTo>
                  <a:cubicBezTo>
                    <a:pt x="864" y="344"/>
                    <a:pt x="876" y="356"/>
                    <a:pt x="882" y="372"/>
                  </a:cubicBezTo>
                  <a:close/>
                  <a:moveTo>
                    <a:pt x="804" y="452"/>
                  </a:moveTo>
                  <a:cubicBezTo>
                    <a:pt x="788" y="446"/>
                    <a:pt x="775" y="432"/>
                    <a:pt x="769" y="416"/>
                  </a:cubicBezTo>
                  <a:cubicBezTo>
                    <a:pt x="666" y="412"/>
                    <a:pt x="567" y="398"/>
                    <a:pt x="475" y="375"/>
                  </a:cubicBezTo>
                  <a:cubicBezTo>
                    <a:pt x="464" y="390"/>
                    <a:pt x="446" y="400"/>
                    <a:pt x="427" y="400"/>
                  </a:cubicBezTo>
                  <a:cubicBezTo>
                    <a:pt x="389" y="512"/>
                    <a:pt x="367" y="638"/>
                    <a:pt x="362" y="770"/>
                  </a:cubicBezTo>
                  <a:cubicBezTo>
                    <a:pt x="378" y="776"/>
                    <a:pt x="390" y="788"/>
                    <a:pt x="396" y="804"/>
                  </a:cubicBezTo>
                  <a:cubicBezTo>
                    <a:pt x="769" y="804"/>
                    <a:pt x="769" y="804"/>
                    <a:pt x="769" y="804"/>
                  </a:cubicBezTo>
                  <a:cubicBezTo>
                    <a:pt x="775" y="788"/>
                    <a:pt x="788" y="775"/>
                    <a:pt x="804" y="769"/>
                  </a:cubicBezTo>
                  <a:lnTo>
                    <a:pt x="804" y="452"/>
                  </a:lnTo>
                  <a:close/>
                  <a:moveTo>
                    <a:pt x="1225" y="400"/>
                  </a:moveTo>
                  <a:cubicBezTo>
                    <a:pt x="1206" y="400"/>
                    <a:pt x="1188" y="390"/>
                    <a:pt x="1177" y="375"/>
                  </a:cubicBezTo>
                  <a:cubicBezTo>
                    <a:pt x="1085" y="398"/>
                    <a:pt x="986" y="412"/>
                    <a:pt x="883" y="416"/>
                  </a:cubicBezTo>
                  <a:cubicBezTo>
                    <a:pt x="877" y="432"/>
                    <a:pt x="864" y="446"/>
                    <a:pt x="848" y="452"/>
                  </a:cubicBezTo>
                  <a:cubicBezTo>
                    <a:pt x="848" y="769"/>
                    <a:pt x="848" y="769"/>
                    <a:pt x="848" y="769"/>
                  </a:cubicBezTo>
                  <a:cubicBezTo>
                    <a:pt x="864" y="775"/>
                    <a:pt x="877" y="788"/>
                    <a:pt x="883" y="804"/>
                  </a:cubicBezTo>
                  <a:cubicBezTo>
                    <a:pt x="1256" y="804"/>
                    <a:pt x="1256" y="804"/>
                    <a:pt x="1256" y="804"/>
                  </a:cubicBezTo>
                  <a:cubicBezTo>
                    <a:pt x="1262" y="788"/>
                    <a:pt x="1274" y="776"/>
                    <a:pt x="1290" y="770"/>
                  </a:cubicBezTo>
                  <a:cubicBezTo>
                    <a:pt x="1285" y="638"/>
                    <a:pt x="1263" y="512"/>
                    <a:pt x="1225" y="400"/>
                  </a:cubicBezTo>
                  <a:close/>
                  <a:moveTo>
                    <a:pt x="769" y="848"/>
                  </a:moveTo>
                  <a:cubicBezTo>
                    <a:pt x="396" y="848"/>
                    <a:pt x="396" y="848"/>
                    <a:pt x="396" y="848"/>
                  </a:cubicBezTo>
                  <a:cubicBezTo>
                    <a:pt x="390" y="864"/>
                    <a:pt x="378" y="876"/>
                    <a:pt x="362" y="882"/>
                  </a:cubicBezTo>
                  <a:cubicBezTo>
                    <a:pt x="367" y="1014"/>
                    <a:pt x="389" y="1140"/>
                    <a:pt x="427" y="1252"/>
                  </a:cubicBezTo>
                  <a:cubicBezTo>
                    <a:pt x="446" y="1252"/>
                    <a:pt x="464" y="1262"/>
                    <a:pt x="475" y="1277"/>
                  </a:cubicBezTo>
                  <a:cubicBezTo>
                    <a:pt x="567" y="1254"/>
                    <a:pt x="666" y="1240"/>
                    <a:pt x="769" y="1236"/>
                  </a:cubicBezTo>
                  <a:cubicBezTo>
                    <a:pt x="775" y="1220"/>
                    <a:pt x="788" y="1206"/>
                    <a:pt x="804" y="1200"/>
                  </a:cubicBezTo>
                  <a:cubicBezTo>
                    <a:pt x="804" y="883"/>
                    <a:pt x="804" y="883"/>
                    <a:pt x="804" y="883"/>
                  </a:cubicBezTo>
                  <a:cubicBezTo>
                    <a:pt x="788" y="877"/>
                    <a:pt x="775" y="864"/>
                    <a:pt x="769" y="848"/>
                  </a:cubicBezTo>
                  <a:close/>
                  <a:moveTo>
                    <a:pt x="1151" y="1421"/>
                  </a:moveTo>
                  <a:cubicBezTo>
                    <a:pt x="1163" y="1401"/>
                    <a:pt x="1174" y="1379"/>
                    <a:pt x="1184" y="1357"/>
                  </a:cubicBezTo>
                  <a:cubicBezTo>
                    <a:pt x="1174" y="1347"/>
                    <a:pt x="1167" y="1334"/>
                    <a:pt x="1166" y="1319"/>
                  </a:cubicBezTo>
                  <a:cubicBezTo>
                    <a:pt x="1077" y="1297"/>
                    <a:pt x="981" y="1284"/>
                    <a:pt x="882" y="1280"/>
                  </a:cubicBezTo>
                  <a:cubicBezTo>
                    <a:pt x="876" y="1296"/>
                    <a:pt x="864" y="1308"/>
                    <a:pt x="848" y="1314"/>
                  </a:cubicBezTo>
                  <a:cubicBezTo>
                    <a:pt x="848" y="1652"/>
                    <a:pt x="848" y="1652"/>
                    <a:pt x="848" y="1652"/>
                  </a:cubicBezTo>
                  <a:cubicBezTo>
                    <a:pt x="869" y="1651"/>
                    <a:pt x="889" y="1650"/>
                    <a:pt x="909" y="1648"/>
                  </a:cubicBezTo>
                  <a:cubicBezTo>
                    <a:pt x="1000" y="1618"/>
                    <a:pt x="1083" y="1540"/>
                    <a:pt x="1151" y="1421"/>
                  </a:cubicBezTo>
                  <a:close/>
                  <a:moveTo>
                    <a:pt x="1290" y="882"/>
                  </a:moveTo>
                  <a:cubicBezTo>
                    <a:pt x="1274" y="876"/>
                    <a:pt x="1262" y="864"/>
                    <a:pt x="1256" y="848"/>
                  </a:cubicBezTo>
                  <a:cubicBezTo>
                    <a:pt x="883" y="848"/>
                    <a:pt x="883" y="848"/>
                    <a:pt x="883" y="848"/>
                  </a:cubicBezTo>
                  <a:cubicBezTo>
                    <a:pt x="877" y="864"/>
                    <a:pt x="864" y="877"/>
                    <a:pt x="848" y="883"/>
                  </a:cubicBezTo>
                  <a:cubicBezTo>
                    <a:pt x="848" y="1200"/>
                    <a:pt x="848" y="1200"/>
                    <a:pt x="848" y="1200"/>
                  </a:cubicBezTo>
                  <a:cubicBezTo>
                    <a:pt x="864" y="1206"/>
                    <a:pt x="877" y="1220"/>
                    <a:pt x="883" y="1236"/>
                  </a:cubicBezTo>
                  <a:cubicBezTo>
                    <a:pt x="986" y="1240"/>
                    <a:pt x="1085" y="1254"/>
                    <a:pt x="1177" y="1277"/>
                  </a:cubicBezTo>
                  <a:cubicBezTo>
                    <a:pt x="1188" y="1262"/>
                    <a:pt x="1206" y="1252"/>
                    <a:pt x="1225" y="1252"/>
                  </a:cubicBezTo>
                  <a:cubicBezTo>
                    <a:pt x="1263" y="1140"/>
                    <a:pt x="1285" y="1014"/>
                    <a:pt x="1290" y="882"/>
                  </a:cubicBezTo>
                  <a:close/>
                  <a:moveTo>
                    <a:pt x="1267" y="385"/>
                  </a:moveTo>
                  <a:cubicBezTo>
                    <a:pt x="1306" y="501"/>
                    <a:pt x="1329" y="632"/>
                    <a:pt x="1334" y="769"/>
                  </a:cubicBezTo>
                  <a:cubicBezTo>
                    <a:pt x="1350" y="775"/>
                    <a:pt x="1363" y="788"/>
                    <a:pt x="1370" y="804"/>
                  </a:cubicBezTo>
                  <a:cubicBezTo>
                    <a:pt x="1652" y="804"/>
                    <a:pt x="1652" y="804"/>
                    <a:pt x="1652" y="804"/>
                  </a:cubicBezTo>
                  <a:cubicBezTo>
                    <a:pt x="1646" y="600"/>
                    <a:pt x="1567" y="415"/>
                    <a:pt x="1440" y="274"/>
                  </a:cubicBezTo>
                  <a:cubicBezTo>
                    <a:pt x="1393" y="300"/>
                    <a:pt x="1342" y="323"/>
                    <a:pt x="1287" y="342"/>
                  </a:cubicBezTo>
                  <a:cubicBezTo>
                    <a:pt x="1286" y="359"/>
                    <a:pt x="1279" y="374"/>
                    <a:pt x="1267" y="385"/>
                  </a:cubicBezTo>
                  <a:close/>
                  <a:moveTo>
                    <a:pt x="1274" y="1352"/>
                  </a:moveTo>
                  <a:cubicBezTo>
                    <a:pt x="1262" y="1365"/>
                    <a:pt x="1245" y="1374"/>
                    <a:pt x="1227" y="1374"/>
                  </a:cubicBezTo>
                  <a:cubicBezTo>
                    <a:pt x="1226" y="1374"/>
                    <a:pt x="1225" y="1374"/>
                    <a:pt x="1225" y="1374"/>
                  </a:cubicBezTo>
                  <a:cubicBezTo>
                    <a:pt x="1214" y="1398"/>
                    <a:pt x="1202" y="1421"/>
                    <a:pt x="1189" y="1443"/>
                  </a:cubicBezTo>
                  <a:cubicBezTo>
                    <a:pt x="1146" y="1519"/>
                    <a:pt x="1096" y="1579"/>
                    <a:pt x="1042" y="1623"/>
                  </a:cubicBezTo>
                  <a:cubicBezTo>
                    <a:pt x="1182" y="1585"/>
                    <a:pt x="1308" y="1511"/>
                    <a:pt x="1408" y="1411"/>
                  </a:cubicBezTo>
                  <a:cubicBezTo>
                    <a:pt x="1367" y="1389"/>
                    <a:pt x="1321" y="1369"/>
                    <a:pt x="1274" y="1352"/>
                  </a:cubicBezTo>
                  <a:close/>
                  <a:moveTo>
                    <a:pt x="463" y="1443"/>
                  </a:moveTo>
                  <a:cubicBezTo>
                    <a:pt x="450" y="1421"/>
                    <a:pt x="438" y="1398"/>
                    <a:pt x="427" y="1374"/>
                  </a:cubicBezTo>
                  <a:cubicBezTo>
                    <a:pt x="427" y="1374"/>
                    <a:pt x="426" y="1374"/>
                    <a:pt x="426" y="1374"/>
                  </a:cubicBezTo>
                  <a:cubicBezTo>
                    <a:pt x="407" y="1374"/>
                    <a:pt x="390" y="1365"/>
                    <a:pt x="378" y="1352"/>
                  </a:cubicBezTo>
                  <a:cubicBezTo>
                    <a:pt x="331" y="1369"/>
                    <a:pt x="285" y="1389"/>
                    <a:pt x="244" y="1411"/>
                  </a:cubicBezTo>
                  <a:cubicBezTo>
                    <a:pt x="344" y="1511"/>
                    <a:pt x="470" y="1585"/>
                    <a:pt x="610" y="1623"/>
                  </a:cubicBezTo>
                  <a:cubicBezTo>
                    <a:pt x="556" y="1579"/>
                    <a:pt x="506" y="1519"/>
                    <a:pt x="463" y="1443"/>
                  </a:cubicBezTo>
                  <a:close/>
                  <a:moveTo>
                    <a:pt x="770" y="1280"/>
                  </a:moveTo>
                  <a:cubicBezTo>
                    <a:pt x="671" y="1284"/>
                    <a:pt x="575" y="1297"/>
                    <a:pt x="486" y="1319"/>
                  </a:cubicBezTo>
                  <a:cubicBezTo>
                    <a:pt x="485" y="1334"/>
                    <a:pt x="478" y="1347"/>
                    <a:pt x="468" y="1357"/>
                  </a:cubicBezTo>
                  <a:cubicBezTo>
                    <a:pt x="478" y="1379"/>
                    <a:pt x="489" y="1401"/>
                    <a:pt x="501" y="1421"/>
                  </a:cubicBezTo>
                  <a:cubicBezTo>
                    <a:pt x="569" y="1540"/>
                    <a:pt x="652" y="1618"/>
                    <a:pt x="743" y="1648"/>
                  </a:cubicBezTo>
                  <a:cubicBezTo>
                    <a:pt x="763" y="1650"/>
                    <a:pt x="783" y="1651"/>
                    <a:pt x="804" y="1652"/>
                  </a:cubicBezTo>
                  <a:cubicBezTo>
                    <a:pt x="804" y="1314"/>
                    <a:pt x="804" y="1314"/>
                    <a:pt x="804" y="1314"/>
                  </a:cubicBezTo>
                  <a:cubicBezTo>
                    <a:pt x="788" y="1308"/>
                    <a:pt x="776" y="1296"/>
                    <a:pt x="770" y="1280"/>
                  </a:cubicBezTo>
                  <a:close/>
                  <a:moveTo>
                    <a:pt x="1370" y="848"/>
                  </a:moveTo>
                  <a:cubicBezTo>
                    <a:pt x="1363" y="864"/>
                    <a:pt x="1350" y="877"/>
                    <a:pt x="1334" y="883"/>
                  </a:cubicBezTo>
                  <a:cubicBezTo>
                    <a:pt x="1329" y="1020"/>
                    <a:pt x="1306" y="1151"/>
                    <a:pt x="1267" y="1267"/>
                  </a:cubicBezTo>
                  <a:cubicBezTo>
                    <a:pt x="1279" y="1278"/>
                    <a:pt x="1286" y="1293"/>
                    <a:pt x="1287" y="1310"/>
                  </a:cubicBezTo>
                  <a:cubicBezTo>
                    <a:pt x="1342" y="1329"/>
                    <a:pt x="1393" y="1352"/>
                    <a:pt x="1440" y="1378"/>
                  </a:cubicBezTo>
                  <a:cubicBezTo>
                    <a:pt x="1567" y="1237"/>
                    <a:pt x="1646" y="1052"/>
                    <a:pt x="1652" y="848"/>
                  </a:cubicBezTo>
                  <a:lnTo>
                    <a:pt x="1370" y="848"/>
                  </a:lnTo>
                  <a:close/>
                  <a:moveTo>
                    <a:pt x="804" y="0"/>
                  </a:moveTo>
                  <a:cubicBezTo>
                    <a:pt x="783" y="1"/>
                    <a:pt x="763" y="2"/>
                    <a:pt x="743" y="4"/>
                  </a:cubicBezTo>
                  <a:cubicBezTo>
                    <a:pt x="652" y="34"/>
                    <a:pt x="569" y="112"/>
                    <a:pt x="501" y="231"/>
                  </a:cubicBezTo>
                  <a:cubicBezTo>
                    <a:pt x="489" y="251"/>
                    <a:pt x="478" y="273"/>
                    <a:pt x="468" y="295"/>
                  </a:cubicBezTo>
                  <a:cubicBezTo>
                    <a:pt x="478" y="305"/>
                    <a:pt x="485" y="318"/>
                    <a:pt x="486" y="333"/>
                  </a:cubicBezTo>
                  <a:cubicBezTo>
                    <a:pt x="575" y="355"/>
                    <a:pt x="671" y="368"/>
                    <a:pt x="770" y="372"/>
                  </a:cubicBezTo>
                  <a:cubicBezTo>
                    <a:pt x="776" y="356"/>
                    <a:pt x="788" y="344"/>
                    <a:pt x="804" y="338"/>
                  </a:cubicBezTo>
                  <a:lnTo>
                    <a:pt x="804" y="0"/>
                  </a:lnTo>
                  <a:close/>
                  <a:moveTo>
                    <a:pt x="378" y="300"/>
                  </a:moveTo>
                  <a:cubicBezTo>
                    <a:pt x="390" y="287"/>
                    <a:pt x="407" y="278"/>
                    <a:pt x="426" y="278"/>
                  </a:cubicBezTo>
                  <a:cubicBezTo>
                    <a:pt x="426" y="278"/>
                    <a:pt x="427" y="278"/>
                    <a:pt x="427" y="278"/>
                  </a:cubicBezTo>
                  <a:cubicBezTo>
                    <a:pt x="438" y="254"/>
                    <a:pt x="450" y="231"/>
                    <a:pt x="463" y="209"/>
                  </a:cubicBezTo>
                  <a:cubicBezTo>
                    <a:pt x="506" y="133"/>
                    <a:pt x="556" y="73"/>
                    <a:pt x="610" y="29"/>
                  </a:cubicBezTo>
                  <a:cubicBezTo>
                    <a:pt x="470" y="67"/>
                    <a:pt x="344" y="141"/>
                    <a:pt x="244" y="241"/>
                  </a:cubicBezTo>
                  <a:cubicBezTo>
                    <a:pt x="285" y="263"/>
                    <a:pt x="331" y="283"/>
                    <a:pt x="378" y="300"/>
                  </a:cubicBezTo>
                  <a:close/>
                  <a:moveTo>
                    <a:pt x="282" y="804"/>
                  </a:moveTo>
                  <a:cubicBezTo>
                    <a:pt x="289" y="788"/>
                    <a:pt x="302" y="775"/>
                    <a:pt x="318" y="769"/>
                  </a:cubicBezTo>
                  <a:cubicBezTo>
                    <a:pt x="323" y="632"/>
                    <a:pt x="346" y="501"/>
                    <a:pt x="385" y="385"/>
                  </a:cubicBezTo>
                  <a:cubicBezTo>
                    <a:pt x="373" y="374"/>
                    <a:pt x="366" y="359"/>
                    <a:pt x="365" y="342"/>
                  </a:cubicBezTo>
                  <a:cubicBezTo>
                    <a:pt x="310" y="323"/>
                    <a:pt x="259" y="300"/>
                    <a:pt x="212" y="274"/>
                  </a:cubicBezTo>
                  <a:cubicBezTo>
                    <a:pt x="85" y="415"/>
                    <a:pt x="6" y="600"/>
                    <a:pt x="0" y="804"/>
                  </a:cubicBezTo>
                  <a:lnTo>
                    <a:pt x="282" y="804"/>
                  </a:lnTo>
                  <a:close/>
                  <a:moveTo>
                    <a:pt x="385" y="1267"/>
                  </a:moveTo>
                  <a:cubicBezTo>
                    <a:pt x="346" y="1151"/>
                    <a:pt x="323" y="1020"/>
                    <a:pt x="318" y="883"/>
                  </a:cubicBezTo>
                  <a:cubicBezTo>
                    <a:pt x="302" y="877"/>
                    <a:pt x="289" y="864"/>
                    <a:pt x="282" y="848"/>
                  </a:cubicBezTo>
                  <a:cubicBezTo>
                    <a:pt x="0" y="848"/>
                    <a:pt x="0" y="848"/>
                    <a:pt x="0" y="848"/>
                  </a:cubicBezTo>
                  <a:cubicBezTo>
                    <a:pt x="6" y="1052"/>
                    <a:pt x="85" y="1237"/>
                    <a:pt x="212" y="1378"/>
                  </a:cubicBezTo>
                  <a:cubicBezTo>
                    <a:pt x="259" y="1352"/>
                    <a:pt x="310" y="1329"/>
                    <a:pt x="365" y="1310"/>
                  </a:cubicBezTo>
                  <a:cubicBezTo>
                    <a:pt x="366" y="1293"/>
                    <a:pt x="373" y="1278"/>
                    <a:pt x="385" y="12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AU"/>
            </a:p>
          </p:txBody>
        </p:sp>
      </p:grpSp>
      <p:grpSp>
        <p:nvGrpSpPr>
          <p:cNvPr id="42" name="Group 20">
            <a:extLst>
              <a:ext uri="{FF2B5EF4-FFF2-40B4-BE49-F238E27FC236}">
                <a16:creationId xmlns:a16="http://schemas.microsoft.com/office/drawing/2014/main" id="{AD100146-9120-151D-C310-19B2A4CCAA5A}"/>
              </a:ext>
            </a:extLst>
          </p:cNvPr>
          <p:cNvGrpSpPr/>
          <p:nvPr/>
        </p:nvGrpSpPr>
        <p:grpSpPr>
          <a:xfrm>
            <a:off x="3196794" y="1394813"/>
            <a:ext cx="818141" cy="818141"/>
            <a:chOff x="2388090" y="5287157"/>
            <a:chExt cx="500173" cy="500173"/>
          </a:xfrm>
        </p:grpSpPr>
        <p:sp>
          <p:nvSpPr>
            <p:cNvPr id="43" name="AutoShape 108">
              <a:extLst>
                <a:ext uri="{FF2B5EF4-FFF2-40B4-BE49-F238E27FC236}">
                  <a16:creationId xmlns:a16="http://schemas.microsoft.com/office/drawing/2014/main" id="{5350E30F-6257-DD12-340E-67E5B337C29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88090" y="5287157"/>
              <a:ext cx="500173" cy="500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10">
              <a:extLst>
                <a:ext uri="{FF2B5EF4-FFF2-40B4-BE49-F238E27FC236}">
                  <a16:creationId xmlns:a16="http://schemas.microsoft.com/office/drawing/2014/main" id="{521572C9-5B98-523B-B05F-1F7869BCF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2309" y="5411597"/>
              <a:ext cx="482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453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11">
              <a:extLst>
                <a:ext uri="{FF2B5EF4-FFF2-40B4-BE49-F238E27FC236}">
                  <a16:creationId xmlns:a16="http://schemas.microsoft.com/office/drawing/2014/main" id="{0D4DB5E6-F27B-0EC2-03EB-3612C1629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0439" y="5418832"/>
              <a:ext cx="338593" cy="276373"/>
            </a:xfrm>
            <a:custGeom>
              <a:avLst/>
              <a:gdLst>
                <a:gd name="T0" fmla="*/ 775 w 1559"/>
                <a:gd name="T1" fmla="*/ 620 h 1273"/>
                <a:gd name="T2" fmla="*/ 161 w 1559"/>
                <a:gd name="T3" fmla="*/ 156 h 1273"/>
                <a:gd name="T4" fmla="*/ 835 w 1559"/>
                <a:gd name="T5" fmla="*/ 0 h 1273"/>
                <a:gd name="T6" fmla="*/ 1320 w 1559"/>
                <a:gd name="T7" fmla="*/ 599 h 1273"/>
                <a:gd name="T8" fmla="*/ 1209 w 1559"/>
                <a:gd name="T9" fmla="*/ 756 h 1273"/>
                <a:gd name="T10" fmla="*/ 803 w 1559"/>
                <a:gd name="T11" fmla="*/ 306 h 1273"/>
                <a:gd name="T12" fmla="*/ 1225 w 1559"/>
                <a:gd name="T13" fmla="*/ 391 h 1273"/>
                <a:gd name="T14" fmla="*/ 1107 w 1559"/>
                <a:gd name="T15" fmla="*/ 119 h 1273"/>
                <a:gd name="T16" fmla="*/ 1014 w 1559"/>
                <a:gd name="T17" fmla="*/ 149 h 1273"/>
                <a:gd name="T18" fmla="*/ 945 w 1559"/>
                <a:gd name="T19" fmla="*/ 290 h 1273"/>
                <a:gd name="T20" fmla="*/ 942 w 1559"/>
                <a:gd name="T21" fmla="*/ 559 h 1273"/>
                <a:gd name="T22" fmla="*/ 895 w 1559"/>
                <a:gd name="T23" fmla="*/ 576 h 1273"/>
                <a:gd name="T24" fmla="*/ 294 w 1559"/>
                <a:gd name="T25" fmla="*/ 964 h 1273"/>
                <a:gd name="T26" fmla="*/ 1414 w 1559"/>
                <a:gd name="T27" fmla="*/ 1015 h 1273"/>
                <a:gd name="T28" fmla="*/ 420 w 1559"/>
                <a:gd name="T29" fmla="*/ 706 h 1273"/>
                <a:gd name="T30" fmla="*/ 446 w 1559"/>
                <a:gd name="T31" fmla="*/ 741 h 1273"/>
                <a:gd name="T32" fmla="*/ 485 w 1559"/>
                <a:gd name="T33" fmla="*/ 867 h 1273"/>
                <a:gd name="T34" fmla="*/ 528 w 1559"/>
                <a:gd name="T35" fmla="*/ 851 h 1273"/>
                <a:gd name="T36" fmla="*/ 296 w 1559"/>
                <a:gd name="T37" fmla="*/ 889 h 1273"/>
                <a:gd name="T38" fmla="*/ 834 w 1559"/>
                <a:gd name="T39" fmla="*/ 921 h 1273"/>
                <a:gd name="T40" fmla="*/ 868 w 1559"/>
                <a:gd name="T41" fmla="*/ 726 h 1273"/>
                <a:gd name="T42" fmla="*/ 1027 w 1559"/>
                <a:gd name="T43" fmla="*/ 938 h 1273"/>
                <a:gd name="T44" fmla="*/ 1093 w 1559"/>
                <a:gd name="T45" fmla="*/ 843 h 1273"/>
                <a:gd name="T46" fmla="*/ 916 w 1559"/>
                <a:gd name="T47" fmla="*/ 1193 h 1273"/>
                <a:gd name="T48" fmla="*/ 939 w 1559"/>
                <a:gd name="T49" fmla="*/ 1231 h 1273"/>
                <a:gd name="T50" fmla="*/ 1419 w 1559"/>
                <a:gd name="T51" fmla="*/ 1079 h 1273"/>
                <a:gd name="T52" fmla="*/ 840 w 1559"/>
                <a:gd name="T53" fmla="*/ 1140 h 1273"/>
                <a:gd name="T54" fmla="*/ 797 w 1559"/>
                <a:gd name="T55" fmla="*/ 1130 h 1273"/>
                <a:gd name="T56" fmla="*/ 738 w 1559"/>
                <a:gd name="T57" fmla="*/ 1134 h 1273"/>
                <a:gd name="T58" fmla="*/ 1472 w 1559"/>
                <a:gd name="T59" fmla="*/ 598 h 1273"/>
                <a:gd name="T60" fmla="*/ 1559 w 1559"/>
                <a:gd name="T61" fmla="*/ 859 h 1273"/>
                <a:gd name="T62" fmla="*/ 106 w 1559"/>
                <a:gd name="T63" fmla="*/ 284 h 1273"/>
                <a:gd name="T64" fmla="*/ 341 w 1559"/>
                <a:gd name="T65" fmla="*/ 599 h 1273"/>
                <a:gd name="T66" fmla="*/ 1444 w 1559"/>
                <a:gd name="T67" fmla="*/ 934 h 1273"/>
                <a:gd name="T68" fmla="*/ 508 w 1559"/>
                <a:gd name="T69" fmla="*/ 424 h 1273"/>
                <a:gd name="T70" fmla="*/ 477 w 1559"/>
                <a:gd name="T71" fmla="*/ 457 h 1273"/>
                <a:gd name="T72" fmla="*/ 159 w 1559"/>
                <a:gd name="T73" fmla="*/ 177 h 1273"/>
                <a:gd name="T74" fmla="*/ 650 w 1559"/>
                <a:gd name="T75" fmla="*/ 276 h 1273"/>
                <a:gd name="T76" fmla="*/ 638 w 1559"/>
                <a:gd name="T77" fmla="*/ 1201 h 1273"/>
                <a:gd name="T78" fmla="*/ 0 w 1559"/>
                <a:gd name="T79" fmla="*/ 332 h 1273"/>
                <a:gd name="T80" fmla="*/ 43 w 1559"/>
                <a:gd name="T81" fmla="*/ 323 h 1273"/>
                <a:gd name="T82" fmla="*/ 882 w 1559"/>
                <a:gd name="T83" fmla="*/ 95 h 1273"/>
                <a:gd name="T84" fmla="*/ 916 w 1559"/>
                <a:gd name="T85" fmla="*/ 123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9" h="1273">
                  <a:moveTo>
                    <a:pt x="628" y="490"/>
                  </a:moveTo>
                  <a:cubicBezTo>
                    <a:pt x="830" y="600"/>
                    <a:pt x="830" y="600"/>
                    <a:pt x="830" y="600"/>
                  </a:cubicBezTo>
                  <a:cubicBezTo>
                    <a:pt x="775" y="620"/>
                    <a:pt x="775" y="620"/>
                    <a:pt x="775" y="620"/>
                  </a:cubicBezTo>
                  <a:cubicBezTo>
                    <a:pt x="597" y="523"/>
                    <a:pt x="597" y="523"/>
                    <a:pt x="597" y="523"/>
                  </a:cubicBezTo>
                  <a:lnTo>
                    <a:pt x="628" y="490"/>
                  </a:lnTo>
                  <a:close/>
                  <a:moveTo>
                    <a:pt x="161" y="156"/>
                  </a:moveTo>
                  <a:cubicBezTo>
                    <a:pt x="161" y="158"/>
                    <a:pt x="160" y="160"/>
                    <a:pt x="160" y="163"/>
                  </a:cubicBezTo>
                  <a:cubicBezTo>
                    <a:pt x="847" y="42"/>
                    <a:pt x="847" y="42"/>
                    <a:pt x="847" y="42"/>
                  </a:cubicBezTo>
                  <a:cubicBezTo>
                    <a:pt x="841" y="29"/>
                    <a:pt x="837" y="14"/>
                    <a:pt x="835" y="0"/>
                  </a:cubicBezTo>
                  <a:cubicBezTo>
                    <a:pt x="157" y="119"/>
                    <a:pt x="157" y="119"/>
                    <a:pt x="157" y="119"/>
                  </a:cubicBezTo>
                  <a:cubicBezTo>
                    <a:pt x="159" y="131"/>
                    <a:pt x="161" y="143"/>
                    <a:pt x="161" y="156"/>
                  </a:cubicBezTo>
                  <a:close/>
                  <a:moveTo>
                    <a:pt x="1320" y="599"/>
                  </a:moveTo>
                  <a:cubicBezTo>
                    <a:pt x="1306" y="592"/>
                    <a:pt x="1294" y="584"/>
                    <a:pt x="1283" y="575"/>
                  </a:cubicBezTo>
                  <a:cubicBezTo>
                    <a:pt x="1170" y="735"/>
                    <a:pt x="1170" y="735"/>
                    <a:pt x="1170" y="735"/>
                  </a:cubicBezTo>
                  <a:cubicBezTo>
                    <a:pt x="1209" y="756"/>
                    <a:pt x="1209" y="756"/>
                    <a:pt x="1209" y="756"/>
                  </a:cubicBezTo>
                  <a:lnTo>
                    <a:pt x="1320" y="599"/>
                  </a:lnTo>
                  <a:close/>
                  <a:moveTo>
                    <a:pt x="1225" y="391"/>
                  </a:moveTo>
                  <a:cubicBezTo>
                    <a:pt x="803" y="306"/>
                    <a:pt x="803" y="306"/>
                    <a:pt x="803" y="306"/>
                  </a:cubicBezTo>
                  <a:cubicBezTo>
                    <a:pt x="767" y="344"/>
                    <a:pt x="767" y="344"/>
                    <a:pt x="767" y="344"/>
                  </a:cubicBezTo>
                  <a:cubicBezTo>
                    <a:pt x="1218" y="434"/>
                    <a:pt x="1218" y="434"/>
                    <a:pt x="1218" y="434"/>
                  </a:cubicBezTo>
                  <a:cubicBezTo>
                    <a:pt x="1219" y="419"/>
                    <a:pt x="1221" y="405"/>
                    <a:pt x="1225" y="391"/>
                  </a:cubicBezTo>
                  <a:close/>
                  <a:moveTo>
                    <a:pt x="1303" y="288"/>
                  </a:moveTo>
                  <a:cubicBezTo>
                    <a:pt x="1140" y="89"/>
                    <a:pt x="1140" y="89"/>
                    <a:pt x="1140" y="89"/>
                  </a:cubicBezTo>
                  <a:cubicBezTo>
                    <a:pt x="1131" y="101"/>
                    <a:pt x="1119" y="110"/>
                    <a:pt x="1107" y="119"/>
                  </a:cubicBezTo>
                  <a:cubicBezTo>
                    <a:pt x="1268" y="315"/>
                    <a:pt x="1268" y="315"/>
                    <a:pt x="1268" y="315"/>
                  </a:cubicBezTo>
                  <a:cubicBezTo>
                    <a:pt x="1278" y="305"/>
                    <a:pt x="1290" y="295"/>
                    <a:pt x="1303" y="288"/>
                  </a:cubicBezTo>
                  <a:close/>
                  <a:moveTo>
                    <a:pt x="1014" y="149"/>
                  </a:moveTo>
                  <a:cubicBezTo>
                    <a:pt x="1012" y="149"/>
                    <a:pt x="1010" y="149"/>
                    <a:pt x="1009" y="149"/>
                  </a:cubicBezTo>
                  <a:cubicBezTo>
                    <a:pt x="995" y="149"/>
                    <a:pt x="983" y="148"/>
                    <a:pt x="970" y="145"/>
                  </a:cubicBezTo>
                  <a:cubicBezTo>
                    <a:pt x="945" y="290"/>
                    <a:pt x="945" y="290"/>
                    <a:pt x="945" y="290"/>
                  </a:cubicBezTo>
                  <a:cubicBezTo>
                    <a:pt x="988" y="298"/>
                    <a:pt x="988" y="298"/>
                    <a:pt x="988" y="298"/>
                  </a:cubicBezTo>
                  <a:lnTo>
                    <a:pt x="1014" y="149"/>
                  </a:lnTo>
                  <a:close/>
                  <a:moveTo>
                    <a:pt x="942" y="559"/>
                  </a:moveTo>
                  <a:cubicBezTo>
                    <a:pt x="965" y="428"/>
                    <a:pt x="965" y="428"/>
                    <a:pt x="965" y="428"/>
                  </a:cubicBezTo>
                  <a:cubicBezTo>
                    <a:pt x="922" y="420"/>
                    <a:pt x="922" y="420"/>
                    <a:pt x="922" y="420"/>
                  </a:cubicBezTo>
                  <a:cubicBezTo>
                    <a:pt x="895" y="576"/>
                    <a:pt x="895" y="576"/>
                    <a:pt x="895" y="576"/>
                  </a:cubicBezTo>
                  <a:lnTo>
                    <a:pt x="942" y="559"/>
                  </a:lnTo>
                  <a:close/>
                  <a:moveTo>
                    <a:pt x="299" y="920"/>
                  </a:moveTo>
                  <a:cubicBezTo>
                    <a:pt x="299" y="936"/>
                    <a:pt x="297" y="950"/>
                    <a:pt x="294" y="964"/>
                  </a:cubicBezTo>
                  <a:cubicBezTo>
                    <a:pt x="1415" y="1059"/>
                    <a:pt x="1415" y="1059"/>
                    <a:pt x="1415" y="1059"/>
                  </a:cubicBezTo>
                  <a:cubicBezTo>
                    <a:pt x="1414" y="1051"/>
                    <a:pt x="1413" y="1042"/>
                    <a:pt x="1413" y="1034"/>
                  </a:cubicBezTo>
                  <a:cubicBezTo>
                    <a:pt x="1413" y="1027"/>
                    <a:pt x="1413" y="1021"/>
                    <a:pt x="1414" y="1015"/>
                  </a:cubicBezTo>
                  <a:cubicBezTo>
                    <a:pt x="299" y="920"/>
                    <a:pt x="299" y="920"/>
                    <a:pt x="299" y="920"/>
                  </a:cubicBezTo>
                  <a:cubicBezTo>
                    <a:pt x="299" y="920"/>
                    <a:pt x="299" y="920"/>
                    <a:pt x="299" y="920"/>
                  </a:cubicBezTo>
                  <a:close/>
                  <a:moveTo>
                    <a:pt x="420" y="706"/>
                  </a:moveTo>
                  <a:cubicBezTo>
                    <a:pt x="390" y="739"/>
                    <a:pt x="390" y="739"/>
                    <a:pt x="390" y="739"/>
                  </a:cubicBezTo>
                  <a:cubicBezTo>
                    <a:pt x="403" y="756"/>
                    <a:pt x="403" y="756"/>
                    <a:pt x="403" y="756"/>
                  </a:cubicBezTo>
                  <a:cubicBezTo>
                    <a:pt x="446" y="741"/>
                    <a:pt x="446" y="741"/>
                    <a:pt x="446" y="741"/>
                  </a:cubicBezTo>
                  <a:lnTo>
                    <a:pt x="420" y="706"/>
                  </a:lnTo>
                  <a:close/>
                  <a:moveTo>
                    <a:pt x="528" y="851"/>
                  </a:moveTo>
                  <a:cubicBezTo>
                    <a:pt x="485" y="867"/>
                    <a:pt x="485" y="867"/>
                    <a:pt x="485" y="867"/>
                  </a:cubicBezTo>
                  <a:cubicBezTo>
                    <a:pt x="505" y="894"/>
                    <a:pt x="505" y="894"/>
                    <a:pt x="505" y="894"/>
                  </a:cubicBezTo>
                  <a:cubicBezTo>
                    <a:pt x="563" y="899"/>
                    <a:pt x="563" y="899"/>
                    <a:pt x="563" y="899"/>
                  </a:cubicBezTo>
                  <a:lnTo>
                    <a:pt x="528" y="851"/>
                  </a:lnTo>
                  <a:close/>
                  <a:moveTo>
                    <a:pt x="1229" y="500"/>
                  </a:moveTo>
                  <a:cubicBezTo>
                    <a:pt x="283" y="847"/>
                    <a:pt x="283" y="847"/>
                    <a:pt x="283" y="847"/>
                  </a:cubicBezTo>
                  <a:cubicBezTo>
                    <a:pt x="289" y="860"/>
                    <a:pt x="294" y="874"/>
                    <a:pt x="296" y="889"/>
                  </a:cubicBezTo>
                  <a:cubicBezTo>
                    <a:pt x="1250" y="540"/>
                    <a:pt x="1250" y="540"/>
                    <a:pt x="1250" y="540"/>
                  </a:cubicBezTo>
                  <a:cubicBezTo>
                    <a:pt x="1242" y="527"/>
                    <a:pt x="1235" y="514"/>
                    <a:pt x="1229" y="500"/>
                  </a:cubicBezTo>
                  <a:close/>
                  <a:moveTo>
                    <a:pt x="834" y="921"/>
                  </a:moveTo>
                  <a:cubicBezTo>
                    <a:pt x="878" y="925"/>
                    <a:pt x="878" y="925"/>
                    <a:pt x="878" y="925"/>
                  </a:cubicBezTo>
                  <a:cubicBezTo>
                    <a:pt x="916" y="709"/>
                    <a:pt x="916" y="709"/>
                    <a:pt x="916" y="709"/>
                  </a:cubicBezTo>
                  <a:cubicBezTo>
                    <a:pt x="868" y="726"/>
                    <a:pt x="868" y="726"/>
                    <a:pt x="868" y="726"/>
                  </a:cubicBezTo>
                  <a:lnTo>
                    <a:pt x="834" y="921"/>
                  </a:lnTo>
                  <a:close/>
                  <a:moveTo>
                    <a:pt x="1093" y="843"/>
                  </a:moveTo>
                  <a:cubicBezTo>
                    <a:pt x="1027" y="938"/>
                    <a:pt x="1027" y="938"/>
                    <a:pt x="1027" y="938"/>
                  </a:cubicBezTo>
                  <a:cubicBezTo>
                    <a:pt x="1078" y="942"/>
                    <a:pt x="1078" y="942"/>
                    <a:pt x="1078" y="942"/>
                  </a:cubicBezTo>
                  <a:cubicBezTo>
                    <a:pt x="1132" y="864"/>
                    <a:pt x="1132" y="864"/>
                    <a:pt x="1132" y="864"/>
                  </a:cubicBezTo>
                  <a:lnTo>
                    <a:pt x="1093" y="843"/>
                  </a:lnTo>
                  <a:close/>
                  <a:moveTo>
                    <a:pt x="951" y="1067"/>
                  </a:moveTo>
                  <a:cubicBezTo>
                    <a:pt x="883" y="1163"/>
                    <a:pt x="883" y="1163"/>
                    <a:pt x="883" y="1163"/>
                  </a:cubicBezTo>
                  <a:cubicBezTo>
                    <a:pt x="895" y="1172"/>
                    <a:pt x="906" y="1182"/>
                    <a:pt x="916" y="1193"/>
                  </a:cubicBezTo>
                  <a:cubicBezTo>
                    <a:pt x="1004" y="1069"/>
                    <a:pt x="1004" y="1069"/>
                    <a:pt x="1004" y="1069"/>
                  </a:cubicBezTo>
                  <a:lnTo>
                    <a:pt x="951" y="1067"/>
                  </a:lnTo>
                  <a:close/>
                  <a:moveTo>
                    <a:pt x="939" y="1231"/>
                  </a:moveTo>
                  <a:cubicBezTo>
                    <a:pt x="945" y="1244"/>
                    <a:pt x="950" y="1258"/>
                    <a:pt x="953" y="1273"/>
                  </a:cubicBezTo>
                  <a:cubicBezTo>
                    <a:pt x="1435" y="1120"/>
                    <a:pt x="1435" y="1120"/>
                    <a:pt x="1435" y="1120"/>
                  </a:cubicBezTo>
                  <a:cubicBezTo>
                    <a:pt x="1428" y="1107"/>
                    <a:pt x="1422" y="1093"/>
                    <a:pt x="1419" y="1079"/>
                  </a:cubicBezTo>
                  <a:lnTo>
                    <a:pt x="939" y="1231"/>
                  </a:lnTo>
                  <a:close/>
                  <a:moveTo>
                    <a:pt x="797" y="1130"/>
                  </a:moveTo>
                  <a:cubicBezTo>
                    <a:pt x="812" y="1131"/>
                    <a:pt x="826" y="1135"/>
                    <a:pt x="840" y="1140"/>
                  </a:cubicBezTo>
                  <a:cubicBezTo>
                    <a:pt x="855" y="1056"/>
                    <a:pt x="855" y="1056"/>
                    <a:pt x="855" y="1056"/>
                  </a:cubicBezTo>
                  <a:cubicBezTo>
                    <a:pt x="811" y="1052"/>
                    <a:pt x="811" y="1052"/>
                    <a:pt x="811" y="1052"/>
                  </a:cubicBezTo>
                  <a:lnTo>
                    <a:pt x="797" y="1130"/>
                  </a:lnTo>
                  <a:close/>
                  <a:moveTo>
                    <a:pt x="610" y="1035"/>
                  </a:moveTo>
                  <a:cubicBezTo>
                    <a:pt x="696" y="1151"/>
                    <a:pt x="696" y="1151"/>
                    <a:pt x="696" y="1151"/>
                  </a:cubicBezTo>
                  <a:cubicBezTo>
                    <a:pt x="709" y="1143"/>
                    <a:pt x="723" y="1138"/>
                    <a:pt x="738" y="1134"/>
                  </a:cubicBezTo>
                  <a:cubicBezTo>
                    <a:pt x="668" y="1040"/>
                    <a:pt x="668" y="1040"/>
                    <a:pt x="668" y="1040"/>
                  </a:cubicBezTo>
                  <a:lnTo>
                    <a:pt x="610" y="1035"/>
                  </a:lnTo>
                  <a:close/>
                  <a:moveTo>
                    <a:pt x="1472" y="598"/>
                  </a:moveTo>
                  <a:cubicBezTo>
                    <a:pt x="1459" y="604"/>
                    <a:pt x="1445" y="609"/>
                    <a:pt x="1430" y="612"/>
                  </a:cubicBezTo>
                  <a:cubicBezTo>
                    <a:pt x="1517" y="873"/>
                    <a:pt x="1517" y="873"/>
                    <a:pt x="1517" y="873"/>
                  </a:cubicBezTo>
                  <a:cubicBezTo>
                    <a:pt x="1530" y="866"/>
                    <a:pt x="1544" y="862"/>
                    <a:pt x="1559" y="859"/>
                  </a:cubicBezTo>
                  <a:lnTo>
                    <a:pt x="1472" y="598"/>
                  </a:lnTo>
                  <a:close/>
                  <a:moveTo>
                    <a:pt x="341" y="599"/>
                  </a:moveTo>
                  <a:cubicBezTo>
                    <a:pt x="106" y="284"/>
                    <a:pt x="106" y="284"/>
                    <a:pt x="106" y="284"/>
                  </a:cubicBezTo>
                  <a:cubicBezTo>
                    <a:pt x="96" y="294"/>
                    <a:pt x="84" y="303"/>
                    <a:pt x="71" y="310"/>
                  </a:cubicBezTo>
                  <a:cubicBezTo>
                    <a:pt x="310" y="631"/>
                    <a:pt x="310" y="631"/>
                    <a:pt x="310" y="631"/>
                  </a:cubicBezTo>
                  <a:lnTo>
                    <a:pt x="341" y="599"/>
                  </a:lnTo>
                  <a:close/>
                  <a:moveTo>
                    <a:pt x="930" y="704"/>
                  </a:moveTo>
                  <a:cubicBezTo>
                    <a:pt x="1424" y="973"/>
                    <a:pt x="1424" y="973"/>
                    <a:pt x="1424" y="973"/>
                  </a:cubicBezTo>
                  <a:cubicBezTo>
                    <a:pt x="1429" y="959"/>
                    <a:pt x="1435" y="946"/>
                    <a:pt x="1444" y="934"/>
                  </a:cubicBezTo>
                  <a:cubicBezTo>
                    <a:pt x="984" y="684"/>
                    <a:pt x="984" y="684"/>
                    <a:pt x="984" y="684"/>
                  </a:cubicBezTo>
                  <a:lnTo>
                    <a:pt x="930" y="704"/>
                  </a:lnTo>
                  <a:close/>
                  <a:moveTo>
                    <a:pt x="508" y="424"/>
                  </a:moveTo>
                  <a:cubicBezTo>
                    <a:pt x="146" y="227"/>
                    <a:pt x="146" y="227"/>
                    <a:pt x="146" y="227"/>
                  </a:cubicBezTo>
                  <a:cubicBezTo>
                    <a:pt x="140" y="240"/>
                    <a:pt x="132" y="253"/>
                    <a:pt x="123" y="264"/>
                  </a:cubicBezTo>
                  <a:cubicBezTo>
                    <a:pt x="477" y="457"/>
                    <a:pt x="477" y="457"/>
                    <a:pt x="477" y="457"/>
                  </a:cubicBezTo>
                  <a:lnTo>
                    <a:pt x="508" y="424"/>
                  </a:lnTo>
                  <a:close/>
                  <a:moveTo>
                    <a:pt x="650" y="276"/>
                  </a:moveTo>
                  <a:cubicBezTo>
                    <a:pt x="159" y="177"/>
                    <a:pt x="159" y="177"/>
                    <a:pt x="159" y="177"/>
                  </a:cubicBezTo>
                  <a:cubicBezTo>
                    <a:pt x="157" y="192"/>
                    <a:pt x="154" y="207"/>
                    <a:pt x="148" y="220"/>
                  </a:cubicBezTo>
                  <a:cubicBezTo>
                    <a:pt x="614" y="313"/>
                    <a:pt x="614" y="313"/>
                    <a:pt x="614" y="313"/>
                  </a:cubicBezTo>
                  <a:lnTo>
                    <a:pt x="650" y="276"/>
                  </a:lnTo>
                  <a:close/>
                  <a:moveTo>
                    <a:pt x="257" y="1034"/>
                  </a:moveTo>
                  <a:cubicBezTo>
                    <a:pt x="615" y="1243"/>
                    <a:pt x="615" y="1243"/>
                    <a:pt x="615" y="1243"/>
                  </a:cubicBezTo>
                  <a:cubicBezTo>
                    <a:pt x="621" y="1228"/>
                    <a:pt x="629" y="1214"/>
                    <a:pt x="638" y="1201"/>
                  </a:cubicBezTo>
                  <a:cubicBezTo>
                    <a:pt x="283" y="993"/>
                    <a:pt x="283" y="993"/>
                    <a:pt x="283" y="993"/>
                  </a:cubicBezTo>
                  <a:cubicBezTo>
                    <a:pt x="277" y="1008"/>
                    <a:pt x="268" y="1021"/>
                    <a:pt x="257" y="1034"/>
                  </a:cubicBezTo>
                  <a:close/>
                  <a:moveTo>
                    <a:pt x="0" y="332"/>
                  </a:moveTo>
                  <a:cubicBezTo>
                    <a:pt x="71" y="752"/>
                    <a:pt x="71" y="752"/>
                    <a:pt x="71" y="752"/>
                  </a:cubicBezTo>
                  <a:cubicBezTo>
                    <a:pt x="85" y="748"/>
                    <a:pt x="99" y="745"/>
                    <a:pt x="114" y="745"/>
                  </a:cubicBezTo>
                  <a:cubicBezTo>
                    <a:pt x="43" y="323"/>
                    <a:pt x="43" y="323"/>
                    <a:pt x="43" y="323"/>
                  </a:cubicBezTo>
                  <a:cubicBezTo>
                    <a:pt x="29" y="328"/>
                    <a:pt x="15" y="331"/>
                    <a:pt x="0" y="332"/>
                  </a:cubicBezTo>
                  <a:close/>
                  <a:moveTo>
                    <a:pt x="916" y="123"/>
                  </a:moveTo>
                  <a:cubicBezTo>
                    <a:pt x="904" y="115"/>
                    <a:pt x="892" y="106"/>
                    <a:pt x="882" y="95"/>
                  </a:cubicBezTo>
                  <a:cubicBezTo>
                    <a:pt x="230" y="781"/>
                    <a:pt x="230" y="781"/>
                    <a:pt x="230" y="781"/>
                  </a:cubicBezTo>
                  <a:cubicBezTo>
                    <a:pt x="242" y="790"/>
                    <a:pt x="252" y="800"/>
                    <a:pt x="261" y="812"/>
                  </a:cubicBezTo>
                  <a:lnTo>
                    <a:pt x="916" y="12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12">
              <a:extLst>
                <a:ext uri="{FF2B5EF4-FFF2-40B4-BE49-F238E27FC236}">
                  <a16:creationId xmlns:a16="http://schemas.microsoft.com/office/drawing/2014/main" id="{C7CB99A3-5030-802F-3D18-1AB262955F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8605" y="5384105"/>
              <a:ext cx="405637" cy="348722"/>
            </a:xfrm>
            <a:custGeom>
              <a:avLst/>
              <a:gdLst>
                <a:gd name="T0" fmla="*/ 786 w 1868"/>
                <a:gd name="T1" fmla="*/ 1466 h 1606"/>
                <a:gd name="T2" fmla="*/ 927 w 1868"/>
                <a:gd name="T3" fmla="*/ 1326 h 1606"/>
                <a:gd name="T4" fmla="*/ 1067 w 1868"/>
                <a:gd name="T5" fmla="*/ 1466 h 1606"/>
                <a:gd name="T6" fmla="*/ 927 w 1868"/>
                <a:gd name="T7" fmla="*/ 1606 h 1606"/>
                <a:gd name="T8" fmla="*/ 786 w 1868"/>
                <a:gd name="T9" fmla="*/ 1466 h 1606"/>
                <a:gd name="T10" fmla="*/ 1604 w 1868"/>
                <a:gd name="T11" fmla="*/ 1195 h 1606"/>
                <a:gd name="T12" fmla="*/ 1736 w 1868"/>
                <a:gd name="T13" fmla="*/ 1328 h 1606"/>
                <a:gd name="T14" fmla="*/ 1868 w 1868"/>
                <a:gd name="T15" fmla="*/ 1195 h 1606"/>
                <a:gd name="T16" fmla="*/ 1736 w 1868"/>
                <a:gd name="T17" fmla="*/ 1062 h 1606"/>
                <a:gd name="T18" fmla="*/ 1604 w 1868"/>
                <a:gd name="T19" fmla="*/ 1195 h 1606"/>
                <a:gd name="T20" fmla="*/ 1024 w 1868"/>
                <a:gd name="T21" fmla="*/ 133 h 1606"/>
                <a:gd name="T22" fmla="*/ 1156 w 1868"/>
                <a:gd name="T23" fmla="*/ 266 h 1606"/>
                <a:gd name="T24" fmla="*/ 1288 w 1868"/>
                <a:gd name="T25" fmla="*/ 133 h 1606"/>
                <a:gd name="T26" fmla="*/ 1156 w 1868"/>
                <a:gd name="T27" fmla="*/ 0 h 1606"/>
                <a:gd name="T28" fmla="*/ 1024 w 1868"/>
                <a:gd name="T29" fmla="*/ 133 h 1606"/>
                <a:gd name="T30" fmla="*/ 0 w 1868"/>
                <a:gd name="T31" fmla="*/ 317 h 1606"/>
                <a:gd name="T32" fmla="*/ 132 w 1868"/>
                <a:gd name="T33" fmla="*/ 450 h 1606"/>
                <a:gd name="T34" fmla="*/ 264 w 1868"/>
                <a:gd name="T35" fmla="*/ 317 h 1606"/>
                <a:gd name="T36" fmla="*/ 132 w 1868"/>
                <a:gd name="T37" fmla="*/ 184 h 1606"/>
                <a:gd name="T38" fmla="*/ 0 w 1868"/>
                <a:gd name="T39" fmla="*/ 317 h 1606"/>
                <a:gd name="T40" fmla="*/ 136 w 1868"/>
                <a:gd name="T41" fmla="*/ 1081 h 1606"/>
                <a:gd name="T42" fmla="*/ 269 w 1868"/>
                <a:gd name="T43" fmla="*/ 1213 h 1606"/>
                <a:gd name="T44" fmla="*/ 402 w 1868"/>
                <a:gd name="T45" fmla="*/ 1081 h 1606"/>
                <a:gd name="T46" fmla="*/ 269 w 1868"/>
                <a:gd name="T47" fmla="*/ 950 h 1606"/>
                <a:gd name="T48" fmla="*/ 136 w 1868"/>
                <a:gd name="T49" fmla="*/ 1081 h 1606"/>
                <a:gd name="T50" fmla="*/ 1409 w 1868"/>
                <a:gd name="T51" fmla="*/ 599 h 1606"/>
                <a:gd name="T52" fmla="*/ 1542 w 1868"/>
                <a:gd name="T53" fmla="*/ 732 h 1606"/>
                <a:gd name="T54" fmla="*/ 1675 w 1868"/>
                <a:gd name="T55" fmla="*/ 599 h 1606"/>
                <a:gd name="T56" fmla="*/ 1542 w 1868"/>
                <a:gd name="T57" fmla="*/ 467 h 1606"/>
                <a:gd name="T58" fmla="*/ 1409 w 1868"/>
                <a:gd name="T59" fmla="*/ 599 h 1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68" h="1606">
                  <a:moveTo>
                    <a:pt x="786" y="1466"/>
                  </a:moveTo>
                  <a:cubicBezTo>
                    <a:pt x="786" y="1389"/>
                    <a:pt x="849" y="1326"/>
                    <a:pt x="927" y="1326"/>
                  </a:cubicBezTo>
                  <a:cubicBezTo>
                    <a:pt x="1004" y="1326"/>
                    <a:pt x="1067" y="1389"/>
                    <a:pt x="1067" y="1466"/>
                  </a:cubicBezTo>
                  <a:cubicBezTo>
                    <a:pt x="1067" y="1544"/>
                    <a:pt x="1004" y="1606"/>
                    <a:pt x="927" y="1606"/>
                  </a:cubicBezTo>
                  <a:cubicBezTo>
                    <a:pt x="849" y="1606"/>
                    <a:pt x="786" y="1544"/>
                    <a:pt x="786" y="1466"/>
                  </a:cubicBezTo>
                  <a:close/>
                  <a:moveTo>
                    <a:pt x="1604" y="1195"/>
                  </a:moveTo>
                  <a:cubicBezTo>
                    <a:pt x="1604" y="1268"/>
                    <a:pt x="1663" y="1328"/>
                    <a:pt x="1736" y="1328"/>
                  </a:cubicBezTo>
                  <a:cubicBezTo>
                    <a:pt x="1809" y="1328"/>
                    <a:pt x="1868" y="1268"/>
                    <a:pt x="1868" y="1195"/>
                  </a:cubicBezTo>
                  <a:cubicBezTo>
                    <a:pt x="1868" y="1121"/>
                    <a:pt x="1809" y="1062"/>
                    <a:pt x="1736" y="1062"/>
                  </a:cubicBezTo>
                  <a:cubicBezTo>
                    <a:pt x="1663" y="1062"/>
                    <a:pt x="1604" y="1121"/>
                    <a:pt x="1604" y="1195"/>
                  </a:cubicBezTo>
                  <a:close/>
                  <a:moveTo>
                    <a:pt x="1024" y="133"/>
                  </a:moveTo>
                  <a:cubicBezTo>
                    <a:pt x="1024" y="207"/>
                    <a:pt x="1083" y="266"/>
                    <a:pt x="1156" y="266"/>
                  </a:cubicBezTo>
                  <a:cubicBezTo>
                    <a:pt x="1228" y="266"/>
                    <a:pt x="1288" y="207"/>
                    <a:pt x="1288" y="133"/>
                  </a:cubicBezTo>
                  <a:cubicBezTo>
                    <a:pt x="1288" y="60"/>
                    <a:pt x="1228" y="0"/>
                    <a:pt x="1156" y="0"/>
                  </a:cubicBezTo>
                  <a:cubicBezTo>
                    <a:pt x="1083" y="0"/>
                    <a:pt x="1024" y="60"/>
                    <a:pt x="1024" y="133"/>
                  </a:cubicBezTo>
                  <a:close/>
                  <a:moveTo>
                    <a:pt x="0" y="317"/>
                  </a:moveTo>
                  <a:cubicBezTo>
                    <a:pt x="0" y="390"/>
                    <a:pt x="59" y="450"/>
                    <a:pt x="132" y="450"/>
                  </a:cubicBezTo>
                  <a:cubicBezTo>
                    <a:pt x="204" y="450"/>
                    <a:pt x="264" y="390"/>
                    <a:pt x="264" y="317"/>
                  </a:cubicBezTo>
                  <a:cubicBezTo>
                    <a:pt x="264" y="243"/>
                    <a:pt x="204" y="184"/>
                    <a:pt x="132" y="184"/>
                  </a:cubicBezTo>
                  <a:cubicBezTo>
                    <a:pt x="59" y="184"/>
                    <a:pt x="0" y="243"/>
                    <a:pt x="0" y="317"/>
                  </a:cubicBezTo>
                  <a:close/>
                  <a:moveTo>
                    <a:pt x="136" y="1081"/>
                  </a:moveTo>
                  <a:cubicBezTo>
                    <a:pt x="136" y="1154"/>
                    <a:pt x="196" y="1213"/>
                    <a:pt x="269" y="1213"/>
                  </a:cubicBezTo>
                  <a:cubicBezTo>
                    <a:pt x="343" y="1213"/>
                    <a:pt x="402" y="1154"/>
                    <a:pt x="402" y="1081"/>
                  </a:cubicBezTo>
                  <a:cubicBezTo>
                    <a:pt x="402" y="1009"/>
                    <a:pt x="343" y="950"/>
                    <a:pt x="269" y="950"/>
                  </a:cubicBezTo>
                  <a:cubicBezTo>
                    <a:pt x="196" y="950"/>
                    <a:pt x="136" y="1009"/>
                    <a:pt x="136" y="1081"/>
                  </a:cubicBezTo>
                  <a:close/>
                  <a:moveTo>
                    <a:pt x="1409" y="599"/>
                  </a:moveTo>
                  <a:cubicBezTo>
                    <a:pt x="1409" y="673"/>
                    <a:pt x="1469" y="732"/>
                    <a:pt x="1542" y="732"/>
                  </a:cubicBezTo>
                  <a:cubicBezTo>
                    <a:pt x="1615" y="732"/>
                    <a:pt x="1675" y="673"/>
                    <a:pt x="1675" y="599"/>
                  </a:cubicBezTo>
                  <a:cubicBezTo>
                    <a:pt x="1675" y="526"/>
                    <a:pt x="1615" y="467"/>
                    <a:pt x="1542" y="467"/>
                  </a:cubicBezTo>
                  <a:cubicBezTo>
                    <a:pt x="1469" y="467"/>
                    <a:pt x="1409" y="526"/>
                    <a:pt x="1409" y="5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94832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c 9"/>
          <p:cNvSpPr/>
          <p:nvPr/>
        </p:nvSpPr>
        <p:spPr>
          <a:xfrm>
            <a:off x="-2511107" y="334720"/>
            <a:ext cx="7849668" cy="7849665"/>
          </a:xfrm>
          <a:prstGeom prst="arc">
            <a:avLst>
              <a:gd name="adj1" fmla="val 14935356"/>
              <a:gd name="adj2" fmla="val 776267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4294379" y="1668225"/>
            <a:ext cx="1485000" cy="1485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685800" rtlCol="0" anchor="ctr"/>
          <a:lstStyle/>
          <a:p>
            <a:pPr algn="ctr"/>
            <a:endParaRPr lang="en-US">
              <a:solidFill>
                <a:srgbClr val="575757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253266" y="3331853"/>
            <a:ext cx="2771776" cy="1485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bg1"/>
              </a:buClr>
            </a:pPr>
            <a:r>
              <a:rPr lang="en-US" sz="1500">
                <a:solidFill>
                  <a:schemeClr val="tx2"/>
                </a:solidFill>
                <a:cs typeface="Arial"/>
              </a:rPr>
              <a:t>Final Report and Video</a:t>
            </a:r>
            <a:endParaRPr lang="en-US" sz="1500">
              <a:solidFill>
                <a:schemeClr val="tx2"/>
              </a:solidFill>
            </a:endParaRPr>
          </a:p>
          <a:p>
            <a:pPr marL="242570" lvl="1" indent="-161925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500">
                <a:solidFill>
                  <a:schemeClr val="tx1">
                    <a:lumMod val="100000"/>
                  </a:schemeClr>
                </a:solidFill>
              </a:rPr>
              <a:t>Start planning outline of final report and content of video </a:t>
            </a:r>
            <a:endParaRPr lang="en-US" sz="1500">
              <a:solidFill>
                <a:schemeClr val="tx1">
                  <a:lumMod val="100000"/>
                </a:schemeClr>
              </a:solidFill>
              <a:cs typeface="Arial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471583" y="3331853"/>
            <a:ext cx="1485000" cy="1485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685800" rtlCol="0" anchor="ctr"/>
          <a:lstStyle/>
          <a:p>
            <a:pPr algn="ctr"/>
            <a:endParaRPr lang="en-US">
              <a:solidFill>
                <a:srgbClr val="575757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952718" y="1881044"/>
            <a:ext cx="3070491" cy="10593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500">
                <a:solidFill>
                  <a:schemeClr val="tx2"/>
                </a:solidFill>
              </a:rPr>
              <a:t>Webapp</a:t>
            </a:r>
          </a:p>
          <a:p>
            <a:pPr marL="242570" lvl="1" indent="-161925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500">
                <a:solidFill>
                  <a:schemeClr val="tx1">
                    <a:lumMod val="100000"/>
                  </a:schemeClr>
                </a:solidFill>
                <a:cs typeface="Arial"/>
              </a:rPr>
              <a:t>Integrate our code in our webapp</a:t>
            </a:r>
          </a:p>
          <a:p>
            <a:pPr marL="242570" lvl="1" indent="-161925">
              <a:buClr>
                <a:srgbClr val="0065BD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500">
                <a:solidFill>
                  <a:schemeClr val="tx1">
                    <a:lumMod val="100000"/>
                  </a:schemeClr>
                </a:solidFill>
                <a:cs typeface="Arial"/>
              </a:rPr>
              <a:t>Optimize Visualization and User Experience </a:t>
            </a:r>
          </a:p>
        </p:txBody>
      </p:sp>
      <p:sp>
        <p:nvSpPr>
          <p:cNvPr id="5" name="Oval 4"/>
          <p:cNvSpPr/>
          <p:nvPr/>
        </p:nvSpPr>
        <p:spPr>
          <a:xfrm>
            <a:off x="3104067" y="448532"/>
            <a:ext cx="1485000" cy="1485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685800" rtlCol="0" anchor="ctr"/>
          <a:lstStyle/>
          <a:p>
            <a:pPr algn="ctr"/>
            <a:endParaRPr lang="en-US">
              <a:solidFill>
                <a:srgbClr val="575757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740529" y="946913"/>
            <a:ext cx="3982049" cy="48823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500">
                <a:solidFill>
                  <a:schemeClr val="tx2"/>
                </a:solidFill>
              </a:rPr>
              <a:t>Modeling</a:t>
            </a:r>
          </a:p>
          <a:p>
            <a:pPr marL="242570" lvl="1" indent="-161925">
              <a:buClr>
                <a:srgbClr val="0065BD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500">
                <a:solidFill>
                  <a:schemeClr val="tx1">
                    <a:lumMod val="100000"/>
                  </a:schemeClr>
                </a:solidFill>
              </a:rPr>
              <a:t>Explore and refine our selected modeling methods </a:t>
            </a:r>
            <a:endParaRPr lang="en-US" sz="1500">
              <a:solidFill>
                <a:schemeClr val="tx1">
                  <a:lumMod val="100000"/>
                </a:schemeClr>
              </a:solidFill>
              <a:cs typeface="Arial"/>
            </a:endParaRPr>
          </a:p>
        </p:txBody>
      </p:sp>
      <p:sp>
        <p:nvSpPr>
          <p:cNvPr id="52" name="Freeform 51"/>
          <p:cNvSpPr/>
          <p:nvPr/>
        </p:nvSpPr>
        <p:spPr>
          <a:xfrm>
            <a:off x="2" y="1580607"/>
            <a:ext cx="4092677" cy="3562894"/>
          </a:xfrm>
          <a:custGeom>
            <a:avLst/>
            <a:gdLst>
              <a:gd name="connsiteX0" fmla="*/ 1884968 w 5456903"/>
              <a:gd name="connsiteY0" fmla="*/ 0 h 4750525"/>
              <a:gd name="connsiteX1" fmla="*/ 5456903 w 5456903"/>
              <a:gd name="connsiteY1" fmla="*/ 3571934 h 4750525"/>
              <a:gd name="connsiteX2" fmla="*/ 5296316 w 5456903"/>
              <a:gd name="connsiteY2" fmla="*/ 4634118 h 4750525"/>
              <a:gd name="connsiteX3" fmla="*/ 5256928 w 5456903"/>
              <a:gd name="connsiteY3" fmla="*/ 4750525 h 4750525"/>
              <a:gd name="connsiteX4" fmla="*/ 0 w 5456903"/>
              <a:gd name="connsiteY4" fmla="*/ 4750525 h 4750525"/>
              <a:gd name="connsiteX5" fmla="*/ 0 w 5456903"/>
              <a:gd name="connsiteY5" fmla="*/ 541907 h 4750525"/>
              <a:gd name="connsiteX6" fmla="*/ 182372 w 5456903"/>
              <a:gd name="connsiteY6" fmla="*/ 431113 h 4750525"/>
              <a:gd name="connsiteX7" fmla="*/ 1884968 w 5456903"/>
              <a:gd name="connsiteY7" fmla="*/ 0 h 475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56903" h="4750525">
                <a:moveTo>
                  <a:pt x="1884968" y="0"/>
                </a:moveTo>
                <a:cubicBezTo>
                  <a:pt x="3857693" y="0"/>
                  <a:pt x="5456903" y="1599209"/>
                  <a:pt x="5456903" y="3571934"/>
                </a:cubicBezTo>
                <a:cubicBezTo>
                  <a:pt x="5456903" y="3941820"/>
                  <a:pt x="5400681" y="4298575"/>
                  <a:pt x="5296316" y="4634118"/>
                </a:cubicBezTo>
                <a:lnTo>
                  <a:pt x="5256928" y="4750525"/>
                </a:lnTo>
                <a:lnTo>
                  <a:pt x="0" y="4750525"/>
                </a:lnTo>
                <a:lnTo>
                  <a:pt x="0" y="541907"/>
                </a:lnTo>
                <a:lnTo>
                  <a:pt x="182372" y="431113"/>
                </a:lnTo>
                <a:cubicBezTo>
                  <a:pt x="688491" y="156173"/>
                  <a:pt x="1268492" y="0"/>
                  <a:pt x="188496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80060" tIns="0" rIns="0" bIns="480060" rtlCol="0" anchor="b">
            <a:noAutofit/>
          </a:bodyPr>
          <a:lstStyle/>
          <a:p>
            <a:pPr>
              <a:lnSpc>
                <a:spcPct val="95000"/>
              </a:lnSpc>
            </a:pPr>
            <a:r>
              <a:rPr lang="en-US" sz="3600">
                <a:solidFill>
                  <a:prstClr val="white"/>
                </a:solidFill>
              </a:rPr>
              <a:t>Next steps</a:t>
            </a:r>
          </a:p>
        </p:txBody>
      </p:sp>
      <p:sp>
        <p:nvSpPr>
          <p:cNvPr id="50" name="AutoShape 3">
            <a:extLst>
              <a:ext uri="{FF2B5EF4-FFF2-40B4-BE49-F238E27FC236}">
                <a16:creationId xmlns:a16="http://schemas.microsoft.com/office/drawing/2014/main" id="{DC98D500-675B-46D2-AED8-665C0E1B407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3224247" y="568712"/>
            <a:ext cx="1244640" cy="1244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10CCD9E-258C-4175-AAB1-6F4E65B1696B}"/>
              </a:ext>
            </a:extLst>
          </p:cNvPr>
          <p:cNvSpPr/>
          <p:nvPr/>
        </p:nvSpPr>
        <p:spPr>
          <a:xfrm>
            <a:off x="8909824" y="2783339"/>
            <a:ext cx="234176" cy="23601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9B1C822-C0CC-4A92-9D92-46770CD9E5C3}"/>
              </a:ext>
            </a:extLst>
          </p:cNvPr>
          <p:cNvGrpSpPr>
            <a:grpSpLocks noChangeAspect="1"/>
          </p:cNvGrpSpPr>
          <p:nvPr/>
        </p:nvGrpSpPr>
        <p:grpSpPr>
          <a:xfrm>
            <a:off x="727059" y="2410521"/>
            <a:ext cx="1644650" cy="1644650"/>
            <a:chOff x="5273675" y="2606675"/>
            <a:chExt cx="1644650" cy="1644650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C8D2C937-1AAD-405D-930C-8B22F70C7F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1AF45CBA-4EC2-40D8-AB9D-80AF4128B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9646" y="2761199"/>
              <a:ext cx="1310377" cy="1318677"/>
            </a:xfrm>
            <a:custGeom>
              <a:avLst/>
              <a:gdLst>
                <a:gd name="connsiteX0" fmla="*/ 104555 w 1310377"/>
                <a:gd name="connsiteY0" fmla="*/ 1077376 h 1318677"/>
                <a:gd name="connsiteX1" fmla="*/ 31118 w 1310377"/>
                <a:gd name="connsiteY1" fmla="*/ 1207393 h 1318677"/>
                <a:gd name="connsiteX2" fmla="*/ 66054 w 1310377"/>
                <a:gd name="connsiteY2" fmla="*/ 1273830 h 1318677"/>
                <a:gd name="connsiteX3" fmla="*/ 128084 w 1310377"/>
                <a:gd name="connsiteY3" fmla="*/ 1285260 h 1318677"/>
                <a:gd name="connsiteX4" fmla="*/ 233605 w 1310377"/>
                <a:gd name="connsiteY4" fmla="*/ 1175246 h 1318677"/>
                <a:gd name="connsiteX5" fmla="*/ 104555 w 1310377"/>
                <a:gd name="connsiteY5" fmla="*/ 1077376 h 1318677"/>
                <a:gd name="connsiteX6" fmla="*/ 98011 w 1310377"/>
                <a:gd name="connsiteY6" fmla="*/ 1043721 h 1318677"/>
                <a:gd name="connsiteX7" fmla="*/ 115166 w 1310377"/>
                <a:gd name="connsiteY7" fmla="*/ 1044435 h 1318677"/>
                <a:gd name="connsiteX8" fmla="*/ 263843 w 1310377"/>
                <a:gd name="connsiteY8" fmla="*/ 1157274 h 1318677"/>
                <a:gd name="connsiteX9" fmla="*/ 268846 w 1310377"/>
                <a:gd name="connsiteY9" fmla="*/ 1175843 h 1318677"/>
                <a:gd name="connsiteX10" fmla="*/ 137325 w 1310377"/>
                <a:gd name="connsiteY10" fmla="*/ 1314392 h 1318677"/>
                <a:gd name="connsiteX11" fmla="*/ 107303 w 1310377"/>
                <a:gd name="connsiteY11" fmla="*/ 1318677 h 1318677"/>
                <a:gd name="connsiteX12" fmla="*/ 47261 w 1310377"/>
                <a:gd name="connsiteY12" fmla="*/ 1297252 h 1318677"/>
                <a:gd name="connsiteX13" fmla="*/ 85 w 1310377"/>
                <a:gd name="connsiteY13" fmla="*/ 1205124 h 1318677"/>
                <a:gd name="connsiteX14" fmla="*/ 98011 w 1310377"/>
                <a:gd name="connsiteY14" fmla="*/ 1043721 h 1318677"/>
                <a:gd name="connsiteX15" fmla="*/ 760337 w 1310377"/>
                <a:gd name="connsiteY15" fmla="*/ 1005939 h 1318677"/>
                <a:gd name="connsiteX16" fmla="*/ 650323 w 1310377"/>
                <a:gd name="connsiteY16" fmla="*/ 1111461 h 1318677"/>
                <a:gd name="connsiteX17" fmla="*/ 661039 w 1310377"/>
                <a:gd name="connsiteY17" fmla="*/ 1172777 h 1318677"/>
                <a:gd name="connsiteX18" fmla="*/ 727476 w 1310377"/>
                <a:gd name="connsiteY18" fmla="*/ 1208426 h 1318677"/>
                <a:gd name="connsiteX19" fmla="*/ 857492 w 1310377"/>
                <a:gd name="connsiteY19" fmla="*/ 1134989 h 1318677"/>
                <a:gd name="connsiteX20" fmla="*/ 760337 w 1310377"/>
                <a:gd name="connsiteY20" fmla="*/ 1005939 h 1318677"/>
                <a:gd name="connsiteX21" fmla="*/ 768834 w 1310377"/>
                <a:gd name="connsiteY21" fmla="*/ 969982 h 1318677"/>
                <a:gd name="connsiteX22" fmla="*/ 777334 w 1310377"/>
                <a:gd name="connsiteY22" fmla="*/ 975697 h 1318677"/>
                <a:gd name="connsiteX23" fmla="*/ 889711 w 1310377"/>
                <a:gd name="connsiteY23" fmla="*/ 1124288 h 1318677"/>
                <a:gd name="connsiteX24" fmla="*/ 890426 w 1310377"/>
                <a:gd name="connsiteY24" fmla="*/ 1141433 h 1318677"/>
                <a:gd name="connsiteX25" fmla="*/ 728661 w 1310377"/>
                <a:gd name="connsiteY25" fmla="*/ 1238588 h 1318677"/>
                <a:gd name="connsiteX26" fmla="*/ 725798 w 1310377"/>
                <a:gd name="connsiteY26" fmla="*/ 1239302 h 1318677"/>
                <a:gd name="connsiteX27" fmla="*/ 635610 w 1310377"/>
                <a:gd name="connsiteY27" fmla="*/ 1191439 h 1318677"/>
                <a:gd name="connsiteX28" fmla="*/ 619147 w 1310377"/>
                <a:gd name="connsiteY28" fmla="*/ 1101428 h 1318677"/>
                <a:gd name="connsiteX29" fmla="*/ 758724 w 1310377"/>
                <a:gd name="connsiteY29" fmla="*/ 970697 h 1318677"/>
                <a:gd name="connsiteX30" fmla="*/ 768834 w 1310377"/>
                <a:gd name="connsiteY30" fmla="*/ 969982 h 1318677"/>
                <a:gd name="connsiteX31" fmla="*/ 457142 w 1310377"/>
                <a:gd name="connsiteY31" fmla="*/ 744942 h 1318677"/>
                <a:gd name="connsiteX32" fmla="*/ 208204 w 1310377"/>
                <a:gd name="connsiteY32" fmla="*/ 958809 h 1318677"/>
                <a:gd name="connsiteX33" fmla="*/ 325520 w 1310377"/>
                <a:gd name="connsiteY33" fmla="*/ 1082139 h 1318677"/>
                <a:gd name="connsiteX34" fmla="*/ 460003 w 1310377"/>
                <a:gd name="connsiteY34" fmla="*/ 1013702 h 1318677"/>
                <a:gd name="connsiteX35" fmla="*/ 547990 w 1310377"/>
                <a:gd name="connsiteY35" fmla="*/ 772745 h 1318677"/>
                <a:gd name="connsiteX36" fmla="*/ 457142 w 1310377"/>
                <a:gd name="connsiteY36" fmla="*/ 744942 h 1318677"/>
                <a:gd name="connsiteX37" fmla="*/ 452342 w 1310377"/>
                <a:gd name="connsiteY37" fmla="*/ 713911 h 1318677"/>
                <a:gd name="connsiteX38" fmla="*/ 571971 w 1310377"/>
                <a:gd name="connsiteY38" fmla="*/ 753156 h 1318677"/>
                <a:gd name="connsiteX39" fmla="*/ 480995 w 1310377"/>
                <a:gd name="connsiteY39" fmla="*/ 1037147 h 1318677"/>
                <a:gd name="connsiteX40" fmla="*/ 320535 w 1310377"/>
                <a:gd name="connsiteY40" fmla="*/ 1116351 h 1318677"/>
                <a:gd name="connsiteX41" fmla="*/ 316237 w 1310377"/>
                <a:gd name="connsiteY41" fmla="*/ 1117064 h 1318677"/>
                <a:gd name="connsiteX42" fmla="*/ 301911 w 1310377"/>
                <a:gd name="connsiteY42" fmla="*/ 1108502 h 1318677"/>
                <a:gd name="connsiteX43" fmla="*/ 179417 w 1310377"/>
                <a:gd name="connsiteY43" fmla="*/ 978636 h 1318677"/>
                <a:gd name="connsiteX44" fmla="*/ 172970 w 1310377"/>
                <a:gd name="connsiteY44" fmla="*/ 958657 h 1318677"/>
                <a:gd name="connsiteX45" fmla="*/ 452342 w 1310377"/>
                <a:gd name="connsiteY45" fmla="*/ 713911 h 1318677"/>
                <a:gd name="connsiteX46" fmla="*/ 1087888 w 1310377"/>
                <a:gd name="connsiteY46" fmla="*/ 674879 h 1318677"/>
                <a:gd name="connsiteX47" fmla="*/ 920758 w 1310377"/>
                <a:gd name="connsiteY47" fmla="*/ 779797 h 1318677"/>
                <a:gd name="connsiteX48" fmla="*/ 851142 w 1310377"/>
                <a:gd name="connsiteY48" fmla="*/ 914476 h 1318677"/>
                <a:gd name="connsiteX49" fmla="*/ 974584 w 1310377"/>
                <a:gd name="connsiteY49" fmla="*/ 1031340 h 1318677"/>
                <a:gd name="connsiteX50" fmla="*/ 1190606 w 1310377"/>
                <a:gd name="connsiteY50" fmla="*/ 784072 h 1318677"/>
                <a:gd name="connsiteX51" fmla="*/ 1162617 w 1310377"/>
                <a:gd name="connsiteY51" fmla="*/ 692861 h 1318677"/>
                <a:gd name="connsiteX52" fmla="*/ 1087888 w 1310377"/>
                <a:gd name="connsiteY52" fmla="*/ 674879 h 1318677"/>
                <a:gd name="connsiteX53" fmla="*/ 1093449 w 1310377"/>
                <a:gd name="connsiteY53" fmla="*/ 642341 h 1318677"/>
                <a:gd name="connsiteX54" fmla="*/ 1181695 w 1310377"/>
                <a:gd name="connsiteY54" fmla="*/ 668840 h 1318677"/>
                <a:gd name="connsiteX55" fmla="*/ 1220242 w 1310377"/>
                <a:gd name="connsiteY55" fmla="*/ 788758 h 1318677"/>
                <a:gd name="connsiteX56" fmla="*/ 975400 w 1310377"/>
                <a:gd name="connsiteY56" fmla="*/ 1066425 h 1318677"/>
                <a:gd name="connsiteX57" fmla="*/ 968976 w 1310377"/>
                <a:gd name="connsiteY57" fmla="*/ 1067852 h 1318677"/>
                <a:gd name="connsiteX58" fmla="*/ 955413 w 1310377"/>
                <a:gd name="connsiteY58" fmla="*/ 1060714 h 1318677"/>
                <a:gd name="connsiteX59" fmla="*/ 826211 w 1310377"/>
                <a:gd name="connsiteY59" fmla="*/ 937228 h 1318677"/>
                <a:gd name="connsiteX60" fmla="*/ 818359 w 1310377"/>
                <a:gd name="connsiteY60" fmla="*/ 919383 h 1318677"/>
                <a:gd name="connsiteX61" fmla="*/ 898307 w 1310377"/>
                <a:gd name="connsiteY61" fmla="*/ 758779 h 1318677"/>
                <a:gd name="connsiteX62" fmla="*/ 1093449 w 1310377"/>
                <a:gd name="connsiteY62" fmla="*/ 642341 h 1318677"/>
                <a:gd name="connsiteX63" fmla="*/ 810026 w 1310377"/>
                <a:gd name="connsiteY63" fmla="*/ 330934 h 1318677"/>
                <a:gd name="connsiteX64" fmla="*/ 827171 w 1310377"/>
                <a:gd name="connsiteY64" fmla="*/ 332364 h 1318677"/>
                <a:gd name="connsiteX65" fmla="*/ 975047 w 1310377"/>
                <a:gd name="connsiteY65" fmla="*/ 445267 h 1318677"/>
                <a:gd name="connsiteX66" fmla="*/ 980048 w 1310377"/>
                <a:gd name="connsiteY66" fmla="*/ 463846 h 1318677"/>
                <a:gd name="connsiteX67" fmla="*/ 849316 w 1310377"/>
                <a:gd name="connsiteY67" fmla="*/ 602474 h 1318677"/>
                <a:gd name="connsiteX68" fmla="*/ 819313 w 1310377"/>
                <a:gd name="connsiteY68" fmla="*/ 607476 h 1318677"/>
                <a:gd name="connsiteX69" fmla="*/ 760019 w 1310377"/>
                <a:gd name="connsiteY69" fmla="*/ 586039 h 1318677"/>
                <a:gd name="connsiteX70" fmla="*/ 712871 w 1310377"/>
                <a:gd name="connsiteY70" fmla="*/ 493144 h 1318677"/>
                <a:gd name="connsiteX71" fmla="*/ 810026 w 1310377"/>
                <a:gd name="connsiteY71" fmla="*/ 330934 h 1318677"/>
                <a:gd name="connsiteX72" fmla="*/ 1200372 w 1310377"/>
                <a:gd name="connsiteY72" fmla="*/ 353 h 1318677"/>
                <a:gd name="connsiteX73" fmla="*/ 1283331 w 1310377"/>
                <a:gd name="connsiteY73" fmla="*/ 40545 h 1318677"/>
                <a:gd name="connsiteX74" fmla="*/ 1192518 w 1310377"/>
                <a:gd name="connsiteY74" fmla="*/ 324921 h 1318677"/>
                <a:gd name="connsiteX75" fmla="*/ 1033057 w 1310377"/>
                <a:gd name="connsiteY75" fmla="*/ 405148 h 1318677"/>
                <a:gd name="connsiteX76" fmla="*/ 1028767 w 1310377"/>
                <a:gd name="connsiteY76" fmla="*/ 405864 h 1318677"/>
                <a:gd name="connsiteX77" fmla="*/ 1014465 w 1310377"/>
                <a:gd name="connsiteY77" fmla="*/ 396552 h 1318677"/>
                <a:gd name="connsiteX78" fmla="*/ 892188 w 1310377"/>
                <a:gd name="connsiteY78" fmla="*/ 266183 h 1318677"/>
                <a:gd name="connsiteX79" fmla="*/ 885753 w 1310377"/>
                <a:gd name="connsiteY79" fmla="*/ 246843 h 1318677"/>
                <a:gd name="connsiteX80" fmla="*/ 1163915 w 1310377"/>
                <a:gd name="connsiteY80" fmla="*/ 1864 h 1318677"/>
                <a:gd name="connsiteX81" fmla="*/ 1200372 w 1310377"/>
                <a:gd name="connsiteY81" fmla="*/ 353 h 131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310377" h="1318677">
                  <a:moveTo>
                    <a:pt x="104555" y="1077376"/>
                  </a:moveTo>
                  <a:cubicBezTo>
                    <a:pt x="68906" y="1105237"/>
                    <a:pt x="32544" y="1177389"/>
                    <a:pt x="31118" y="1207393"/>
                  </a:cubicBezTo>
                  <a:cubicBezTo>
                    <a:pt x="30405" y="1223109"/>
                    <a:pt x="41813" y="1254542"/>
                    <a:pt x="66054" y="1273830"/>
                  </a:cubicBezTo>
                  <a:cubicBezTo>
                    <a:pt x="84592" y="1288117"/>
                    <a:pt x="105268" y="1291689"/>
                    <a:pt x="128084" y="1285260"/>
                  </a:cubicBezTo>
                  <a:cubicBezTo>
                    <a:pt x="180845" y="1268829"/>
                    <a:pt x="220059" y="1201678"/>
                    <a:pt x="233605" y="1175246"/>
                  </a:cubicBezTo>
                  <a:cubicBezTo>
                    <a:pt x="104555" y="1077376"/>
                    <a:pt x="104555" y="1077376"/>
                    <a:pt x="104555" y="1077376"/>
                  </a:cubicBezTo>
                  <a:close/>
                  <a:moveTo>
                    <a:pt x="98011" y="1043721"/>
                  </a:moveTo>
                  <a:cubicBezTo>
                    <a:pt x="103729" y="1040864"/>
                    <a:pt x="110163" y="1040864"/>
                    <a:pt x="115166" y="1044435"/>
                  </a:cubicBezTo>
                  <a:cubicBezTo>
                    <a:pt x="263843" y="1157274"/>
                    <a:pt x="263843" y="1157274"/>
                    <a:pt x="263843" y="1157274"/>
                  </a:cubicBezTo>
                  <a:cubicBezTo>
                    <a:pt x="269561" y="1161559"/>
                    <a:pt x="271705" y="1169415"/>
                    <a:pt x="268846" y="1175843"/>
                  </a:cubicBezTo>
                  <a:cubicBezTo>
                    <a:pt x="266702" y="1180842"/>
                    <a:pt x="218096" y="1290110"/>
                    <a:pt x="137325" y="1314392"/>
                  </a:cubicBezTo>
                  <a:cubicBezTo>
                    <a:pt x="127318" y="1317249"/>
                    <a:pt x="117310" y="1318677"/>
                    <a:pt x="107303" y="1318677"/>
                  </a:cubicBezTo>
                  <a:cubicBezTo>
                    <a:pt x="85860" y="1318677"/>
                    <a:pt x="65846" y="1311535"/>
                    <a:pt x="47261" y="1297252"/>
                  </a:cubicBezTo>
                  <a:cubicBezTo>
                    <a:pt x="15095" y="1272256"/>
                    <a:pt x="-1345" y="1230834"/>
                    <a:pt x="85" y="1205124"/>
                  </a:cubicBezTo>
                  <a:cubicBezTo>
                    <a:pt x="2229" y="1164416"/>
                    <a:pt x="48691" y="1071574"/>
                    <a:pt x="98011" y="1043721"/>
                  </a:cubicBezTo>
                  <a:close/>
                  <a:moveTo>
                    <a:pt x="760337" y="1005939"/>
                  </a:moveTo>
                  <a:cubicBezTo>
                    <a:pt x="733191" y="1019486"/>
                    <a:pt x="666039" y="1057987"/>
                    <a:pt x="650323" y="1111461"/>
                  </a:cubicBezTo>
                  <a:cubicBezTo>
                    <a:pt x="643179" y="1133563"/>
                    <a:pt x="646751" y="1154239"/>
                    <a:pt x="661039" y="1172777"/>
                  </a:cubicBezTo>
                  <a:cubicBezTo>
                    <a:pt x="680327" y="1197018"/>
                    <a:pt x="711759" y="1209139"/>
                    <a:pt x="727476" y="1208426"/>
                  </a:cubicBezTo>
                  <a:cubicBezTo>
                    <a:pt x="757480" y="1206287"/>
                    <a:pt x="829632" y="1170638"/>
                    <a:pt x="857492" y="1134989"/>
                  </a:cubicBezTo>
                  <a:cubicBezTo>
                    <a:pt x="760337" y="1005939"/>
                    <a:pt x="760337" y="1005939"/>
                    <a:pt x="760337" y="1005939"/>
                  </a:cubicBezTo>
                  <a:close/>
                  <a:moveTo>
                    <a:pt x="768834" y="969982"/>
                  </a:moveTo>
                  <a:cubicBezTo>
                    <a:pt x="772145" y="970875"/>
                    <a:pt x="775187" y="972840"/>
                    <a:pt x="777334" y="975697"/>
                  </a:cubicBezTo>
                  <a:cubicBezTo>
                    <a:pt x="889711" y="1124288"/>
                    <a:pt x="889711" y="1124288"/>
                    <a:pt x="889711" y="1124288"/>
                  </a:cubicBezTo>
                  <a:cubicBezTo>
                    <a:pt x="893289" y="1129288"/>
                    <a:pt x="894005" y="1135718"/>
                    <a:pt x="890426" y="1141433"/>
                  </a:cubicBezTo>
                  <a:cubicBezTo>
                    <a:pt x="862511" y="1190725"/>
                    <a:pt x="769460" y="1237159"/>
                    <a:pt x="728661" y="1238588"/>
                  </a:cubicBezTo>
                  <a:cubicBezTo>
                    <a:pt x="727229" y="1239302"/>
                    <a:pt x="726514" y="1239302"/>
                    <a:pt x="725798" y="1239302"/>
                  </a:cubicBezTo>
                  <a:cubicBezTo>
                    <a:pt x="699314" y="1239302"/>
                    <a:pt x="660662" y="1222871"/>
                    <a:pt x="635610" y="1191439"/>
                  </a:cubicBezTo>
                  <a:cubicBezTo>
                    <a:pt x="615568" y="1165007"/>
                    <a:pt x="609842" y="1133574"/>
                    <a:pt x="619147" y="1101428"/>
                  </a:cubicBezTo>
                  <a:cubicBezTo>
                    <a:pt x="644199" y="1020703"/>
                    <a:pt x="753713" y="972840"/>
                    <a:pt x="758724" y="970697"/>
                  </a:cubicBezTo>
                  <a:cubicBezTo>
                    <a:pt x="761945" y="969268"/>
                    <a:pt x="765524" y="969089"/>
                    <a:pt x="768834" y="969982"/>
                  </a:cubicBezTo>
                  <a:close/>
                  <a:moveTo>
                    <a:pt x="457142" y="744942"/>
                  </a:moveTo>
                  <a:cubicBezTo>
                    <a:pt x="377739" y="755636"/>
                    <a:pt x="271154" y="825499"/>
                    <a:pt x="208204" y="958809"/>
                  </a:cubicBezTo>
                  <a:cubicBezTo>
                    <a:pt x="233241" y="975919"/>
                    <a:pt x="291183" y="1020118"/>
                    <a:pt x="325520" y="1082139"/>
                  </a:cubicBezTo>
                  <a:cubicBezTo>
                    <a:pt x="353418" y="1072872"/>
                    <a:pt x="422090" y="1048633"/>
                    <a:pt x="460003" y="1013702"/>
                  </a:cubicBezTo>
                  <a:cubicBezTo>
                    <a:pt x="466441" y="1007286"/>
                    <a:pt x="620954" y="861856"/>
                    <a:pt x="547990" y="772745"/>
                  </a:cubicBezTo>
                  <a:cubicBezTo>
                    <a:pt x="529391" y="749220"/>
                    <a:pt x="496485" y="739239"/>
                    <a:pt x="457142" y="744942"/>
                  </a:cubicBezTo>
                  <a:close/>
                  <a:moveTo>
                    <a:pt x="452342" y="713911"/>
                  </a:moveTo>
                  <a:cubicBezTo>
                    <a:pt x="503202" y="707489"/>
                    <a:pt x="546182" y="721046"/>
                    <a:pt x="571971" y="753156"/>
                  </a:cubicBezTo>
                  <a:cubicBezTo>
                    <a:pt x="662229" y="863756"/>
                    <a:pt x="499620" y="1019308"/>
                    <a:pt x="480995" y="1037147"/>
                  </a:cubicBezTo>
                  <a:cubicBezTo>
                    <a:pt x="427270" y="1086382"/>
                    <a:pt x="324833" y="1115637"/>
                    <a:pt x="320535" y="1116351"/>
                  </a:cubicBezTo>
                  <a:cubicBezTo>
                    <a:pt x="319103" y="1117064"/>
                    <a:pt x="317670" y="1117064"/>
                    <a:pt x="316237" y="1117064"/>
                  </a:cubicBezTo>
                  <a:cubicBezTo>
                    <a:pt x="310507" y="1117064"/>
                    <a:pt x="304776" y="1114210"/>
                    <a:pt x="301911" y="1108502"/>
                  </a:cubicBezTo>
                  <a:cubicBezTo>
                    <a:pt x="265377" y="1031439"/>
                    <a:pt x="180133" y="979350"/>
                    <a:pt x="179417" y="978636"/>
                  </a:cubicBezTo>
                  <a:cubicBezTo>
                    <a:pt x="172253" y="974355"/>
                    <a:pt x="170104" y="965793"/>
                    <a:pt x="172970" y="958657"/>
                  </a:cubicBezTo>
                  <a:cubicBezTo>
                    <a:pt x="240305" y="806672"/>
                    <a:pt x="361367" y="726041"/>
                    <a:pt x="452342" y="713911"/>
                  </a:cubicBezTo>
                  <a:close/>
                  <a:moveTo>
                    <a:pt x="1087888" y="674879"/>
                  </a:moveTo>
                  <a:cubicBezTo>
                    <a:pt x="1008763" y="687606"/>
                    <a:pt x="925602" y="774987"/>
                    <a:pt x="920758" y="779797"/>
                  </a:cubicBezTo>
                  <a:cubicBezTo>
                    <a:pt x="885591" y="817564"/>
                    <a:pt x="860472" y="885972"/>
                    <a:pt x="851142" y="914476"/>
                  </a:cubicBezTo>
                  <a:cubicBezTo>
                    <a:pt x="912863" y="948680"/>
                    <a:pt x="957359" y="1006400"/>
                    <a:pt x="974584" y="1031340"/>
                  </a:cubicBezTo>
                  <a:cubicBezTo>
                    <a:pt x="1108791" y="969345"/>
                    <a:pt x="1179124" y="863169"/>
                    <a:pt x="1190606" y="784072"/>
                  </a:cubicBezTo>
                  <a:cubicBezTo>
                    <a:pt x="1195630" y="744167"/>
                    <a:pt x="1186300" y="712101"/>
                    <a:pt x="1162617" y="692861"/>
                  </a:cubicBezTo>
                  <a:cubicBezTo>
                    <a:pt x="1140189" y="674690"/>
                    <a:pt x="1114263" y="670637"/>
                    <a:pt x="1087888" y="674879"/>
                  </a:cubicBezTo>
                  <a:close/>
                  <a:moveTo>
                    <a:pt x="1093449" y="642341"/>
                  </a:moveTo>
                  <a:cubicBezTo>
                    <a:pt x="1123831" y="639575"/>
                    <a:pt x="1154213" y="646356"/>
                    <a:pt x="1181695" y="668840"/>
                  </a:cubicBezTo>
                  <a:cubicBezTo>
                    <a:pt x="1213818" y="695251"/>
                    <a:pt x="1227380" y="737365"/>
                    <a:pt x="1220242" y="788758"/>
                  </a:cubicBezTo>
                  <a:cubicBezTo>
                    <a:pt x="1208107" y="878696"/>
                    <a:pt x="1127445" y="1000042"/>
                    <a:pt x="975400" y="1066425"/>
                  </a:cubicBezTo>
                  <a:cubicBezTo>
                    <a:pt x="973259" y="1067852"/>
                    <a:pt x="971117" y="1067852"/>
                    <a:pt x="968976" y="1067852"/>
                  </a:cubicBezTo>
                  <a:cubicBezTo>
                    <a:pt x="963979" y="1067852"/>
                    <a:pt x="958268" y="1064997"/>
                    <a:pt x="955413" y="1060714"/>
                  </a:cubicBezTo>
                  <a:cubicBezTo>
                    <a:pt x="954699" y="1059287"/>
                    <a:pt x="902590" y="974345"/>
                    <a:pt x="826211" y="937228"/>
                  </a:cubicBezTo>
                  <a:cubicBezTo>
                    <a:pt x="819786" y="934372"/>
                    <a:pt x="816217" y="926521"/>
                    <a:pt x="818359" y="919383"/>
                  </a:cubicBezTo>
                  <a:cubicBezTo>
                    <a:pt x="819073" y="914386"/>
                    <a:pt x="848339" y="812313"/>
                    <a:pt x="898307" y="758779"/>
                  </a:cubicBezTo>
                  <a:cubicBezTo>
                    <a:pt x="911156" y="744860"/>
                    <a:pt x="1002302" y="650639"/>
                    <a:pt x="1093449" y="642341"/>
                  </a:cubicBezTo>
                  <a:close/>
                  <a:moveTo>
                    <a:pt x="810026" y="330934"/>
                  </a:moveTo>
                  <a:cubicBezTo>
                    <a:pt x="815741" y="328076"/>
                    <a:pt x="822170" y="328076"/>
                    <a:pt x="827171" y="332364"/>
                  </a:cubicBezTo>
                  <a:cubicBezTo>
                    <a:pt x="975047" y="445267"/>
                    <a:pt x="975047" y="445267"/>
                    <a:pt x="975047" y="445267"/>
                  </a:cubicBezTo>
                  <a:cubicBezTo>
                    <a:pt x="981476" y="449554"/>
                    <a:pt x="982905" y="457415"/>
                    <a:pt x="980048" y="463846"/>
                  </a:cubicBezTo>
                  <a:cubicBezTo>
                    <a:pt x="977905" y="468848"/>
                    <a:pt x="930041" y="578178"/>
                    <a:pt x="849316" y="602474"/>
                  </a:cubicBezTo>
                  <a:cubicBezTo>
                    <a:pt x="839315" y="605332"/>
                    <a:pt x="829314" y="607476"/>
                    <a:pt x="819313" y="607476"/>
                  </a:cubicBezTo>
                  <a:cubicBezTo>
                    <a:pt x="797881" y="607476"/>
                    <a:pt x="777164" y="599616"/>
                    <a:pt x="760019" y="586039"/>
                  </a:cubicBezTo>
                  <a:cubicBezTo>
                    <a:pt x="727872" y="560314"/>
                    <a:pt x="711442" y="518868"/>
                    <a:pt x="712871" y="493144"/>
                  </a:cubicBezTo>
                  <a:cubicBezTo>
                    <a:pt x="715014" y="452413"/>
                    <a:pt x="761448" y="359518"/>
                    <a:pt x="810026" y="330934"/>
                  </a:cubicBezTo>
                  <a:close/>
                  <a:moveTo>
                    <a:pt x="1200372" y="353"/>
                  </a:moveTo>
                  <a:cubicBezTo>
                    <a:pt x="1235064" y="2670"/>
                    <a:pt x="1264024" y="16370"/>
                    <a:pt x="1283331" y="40545"/>
                  </a:cubicBezTo>
                  <a:cubicBezTo>
                    <a:pt x="1373430" y="151573"/>
                    <a:pt x="1211109" y="307729"/>
                    <a:pt x="1192518" y="324921"/>
                  </a:cubicBezTo>
                  <a:cubicBezTo>
                    <a:pt x="1138887" y="375063"/>
                    <a:pt x="1037347" y="403715"/>
                    <a:pt x="1033057" y="405148"/>
                  </a:cubicBezTo>
                  <a:cubicBezTo>
                    <a:pt x="1031627" y="405148"/>
                    <a:pt x="1030197" y="405864"/>
                    <a:pt x="1028767" y="405864"/>
                  </a:cubicBezTo>
                  <a:cubicBezTo>
                    <a:pt x="1023046" y="405864"/>
                    <a:pt x="1017325" y="402283"/>
                    <a:pt x="1014465" y="396552"/>
                  </a:cubicBezTo>
                  <a:cubicBezTo>
                    <a:pt x="977997" y="319907"/>
                    <a:pt x="892903" y="266900"/>
                    <a:pt x="892188" y="266183"/>
                  </a:cubicBezTo>
                  <a:cubicBezTo>
                    <a:pt x="885037" y="262602"/>
                    <a:pt x="882892" y="254006"/>
                    <a:pt x="885753" y="246843"/>
                  </a:cubicBezTo>
                  <a:cubicBezTo>
                    <a:pt x="952969" y="94268"/>
                    <a:pt x="1073101" y="14042"/>
                    <a:pt x="1163915" y="1864"/>
                  </a:cubicBezTo>
                  <a:cubicBezTo>
                    <a:pt x="1176607" y="73"/>
                    <a:pt x="1188808" y="-419"/>
                    <a:pt x="1200372" y="3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pic>
        <p:nvPicPr>
          <p:cNvPr id="36" name="Grafik 2" descr="countdown.gif">
            <a:extLst>
              <a:ext uri="{FF2B5EF4-FFF2-40B4-BE49-F238E27FC236}">
                <a16:creationId xmlns:a16="http://schemas.microsoft.com/office/drawing/2014/main" id="{786317EB-2BE3-48B6-822B-488BDCE5DA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7" name="Group 4">
            <a:extLst>
              <a:ext uri="{FF2B5EF4-FFF2-40B4-BE49-F238E27FC236}">
                <a16:creationId xmlns:a16="http://schemas.microsoft.com/office/drawing/2014/main" id="{19726F6F-45C5-C436-4EA9-BF7999BDC8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66112" y="710131"/>
            <a:ext cx="960911" cy="961802"/>
            <a:chOff x="4733628" y="3593452"/>
            <a:chExt cx="4316" cy="4320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A73A4B51-52BC-7942-F236-283C1F4D93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33628" y="3593452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>
                <a:latin typeface="+mn-lt"/>
              </a:endParaRPr>
            </a:p>
          </p:txBody>
        </p:sp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4C288809-6680-FE15-C63A-2275BB9973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4068" y="3594384"/>
              <a:ext cx="3436" cy="2452"/>
            </a:xfrm>
            <a:custGeom>
              <a:avLst/>
              <a:gdLst>
                <a:gd name="T0" fmla="*/ 1790 w 1834"/>
                <a:gd name="T1" fmla="*/ 1308 h 1308"/>
                <a:gd name="T2" fmla="*/ 44 w 1834"/>
                <a:gd name="T3" fmla="*/ 1308 h 1308"/>
                <a:gd name="T4" fmla="*/ 0 w 1834"/>
                <a:gd name="T5" fmla="*/ 1264 h 1308"/>
                <a:gd name="T6" fmla="*/ 0 w 1834"/>
                <a:gd name="T7" fmla="*/ 44 h 1308"/>
                <a:gd name="T8" fmla="*/ 44 w 1834"/>
                <a:gd name="T9" fmla="*/ 0 h 1308"/>
                <a:gd name="T10" fmla="*/ 1790 w 1834"/>
                <a:gd name="T11" fmla="*/ 0 h 1308"/>
                <a:gd name="T12" fmla="*/ 1834 w 1834"/>
                <a:gd name="T13" fmla="*/ 44 h 1308"/>
                <a:gd name="T14" fmla="*/ 1834 w 1834"/>
                <a:gd name="T15" fmla="*/ 1264 h 1308"/>
                <a:gd name="T16" fmla="*/ 1790 w 1834"/>
                <a:gd name="T17" fmla="*/ 1308 h 1308"/>
                <a:gd name="T18" fmla="*/ 44 w 1834"/>
                <a:gd name="T19" fmla="*/ 44 h 1308"/>
                <a:gd name="T20" fmla="*/ 44 w 1834"/>
                <a:gd name="T21" fmla="*/ 1264 h 1308"/>
                <a:gd name="T22" fmla="*/ 1790 w 1834"/>
                <a:gd name="T23" fmla="*/ 1264 h 1308"/>
                <a:gd name="T24" fmla="*/ 1790 w 1834"/>
                <a:gd name="T25" fmla="*/ 44 h 1308"/>
                <a:gd name="T26" fmla="*/ 44 w 1834"/>
                <a:gd name="T27" fmla="*/ 44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34" h="1308">
                  <a:moveTo>
                    <a:pt x="1790" y="1308"/>
                  </a:moveTo>
                  <a:cubicBezTo>
                    <a:pt x="44" y="1308"/>
                    <a:pt x="44" y="1308"/>
                    <a:pt x="44" y="1308"/>
                  </a:cubicBezTo>
                  <a:cubicBezTo>
                    <a:pt x="20" y="1308"/>
                    <a:pt x="0" y="1288"/>
                    <a:pt x="0" y="126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1790" y="0"/>
                    <a:pt x="1790" y="0"/>
                    <a:pt x="1790" y="0"/>
                  </a:cubicBezTo>
                  <a:cubicBezTo>
                    <a:pt x="1814" y="0"/>
                    <a:pt x="1834" y="20"/>
                    <a:pt x="1834" y="44"/>
                  </a:cubicBezTo>
                  <a:cubicBezTo>
                    <a:pt x="1834" y="1264"/>
                    <a:pt x="1834" y="1264"/>
                    <a:pt x="1834" y="1264"/>
                  </a:cubicBezTo>
                  <a:cubicBezTo>
                    <a:pt x="1834" y="1288"/>
                    <a:pt x="1814" y="1308"/>
                    <a:pt x="1790" y="1308"/>
                  </a:cubicBezTo>
                  <a:close/>
                  <a:moveTo>
                    <a:pt x="44" y="44"/>
                  </a:moveTo>
                  <a:cubicBezTo>
                    <a:pt x="44" y="1264"/>
                    <a:pt x="44" y="1264"/>
                    <a:pt x="44" y="1264"/>
                  </a:cubicBezTo>
                  <a:cubicBezTo>
                    <a:pt x="1790" y="1264"/>
                    <a:pt x="1790" y="1264"/>
                    <a:pt x="1790" y="1264"/>
                  </a:cubicBezTo>
                  <a:cubicBezTo>
                    <a:pt x="1790" y="44"/>
                    <a:pt x="1790" y="44"/>
                    <a:pt x="1790" y="44"/>
                  </a:cubicBezTo>
                  <a:lnTo>
                    <a:pt x="44" y="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>
                <a:latin typeface="+mn-lt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A6CC2529-A890-7286-84CC-30A89634E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4269" y="3595779"/>
              <a:ext cx="648" cy="859"/>
            </a:xfrm>
            <a:custGeom>
              <a:avLst/>
              <a:gdLst>
                <a:gd name="T0" fmla="*/ 336 w 346"/>
                <a:gd name="T1" fmla="*/ 0 h 458"/>
                <a:gd name="T2" fmla="*/ 10 w 346"/>
                <a:gd name="T3" fmla="*/ 0 h 458"/>
                <a:gd name="T4" fmla="*/ 0 w 346"/>
                <a:gd name="T5" fmla="*/ 10 h 458"/>
                <a:gd name="T6" fmla="*/ 0 w 346"/>
                <a:gd name="T7" fmla="*/ 448 h 458"/>
                <a:gd name="T8" fmla="*/ 10 w 346"/>
                <a:gd name="T9" fmla="*/ 458 h 458"/>
                <a:gd name="T10" fmla="*/ 336 w 346"/>
                <a:gd name="T11" fmla="*/ 458 h 458"/>
                <a:gd name="T12" fmla="*/ 346 w 346"/>
                <a:gd name="T13" fmla="*/ 448 h 458"/>
                <a:gd name="T14" fmla="*/ 346 w 346"/>
                <a:gd name="T15" fmla="*/ 10 h 458"/>
                <a:gd name="T16" fmla="*/ 336 w 346"/>
                <a:gd name="T17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6" h="458">
                  <a:moveTo>
                    <a:pt x="33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448"/>
                    <a:pt x="0" y="448"/>
                    <a:pt x="0" y="448"/>
                  </a:cubicBezTo>
                  <a:cubicBezTo>
                    <a:pt x="0" y="453"/>
                    <a:pt x="5" y="458"/>
                    <a:pt x="10" y="458"/>
                  </a:cubicBezTo>
                  <a:cubicBezTo>
                    <a:pt x="336" y="458"/>
                    <a:pt x="336" y="458"/>
                    <a:pt x="336" y="458"/>
                  </a:cubicBezTo>
                  <a:cubicBezTo>
                    <a:pt x="342" y="458"/>
                    <a:pt x="346" y="453"/>
                    <a:pt x="346" y="448"/>
                  </a:cubicBezTo>
                  <a:cubicBezTo>
                    <a:pt x="346" y="10"/>
                    <a:pt x="346" y="10"/>
                    <a:pt x="346" y="10"/>
                  </a:cubicBezTo>
                  <a:cubicBezTo>
                    <a:pt x="346" y="4"/>
                    <a:pt x="342" y="0"/>
                    <a:pt x="33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>
                <a:latin typeface="+mn-lt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AB913E62-B1EE-A112-830B-CD3C5E213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5065" y="3595441"/>
              <a:ext cx="648" cy="1197"/>
            </a:xfrm>
            <a:custGeom>
              <a:avLst/>
              <a:gdLst>
                <a:gd name="T0" fmla="*/ 336 w 346"/>
                <a:gd name="T1" fmla="*/ 0 h 638"/>
                <a:gd name="T2" fmla="*/ 10 w 346"/>
                <a:gd name="T3" fmla="*/ 0 h 638"/>
                <a:gd name="T4" fmla="*/ 0 w 346"/>
                <a:gd name="T5" fmla="*/ 10 h 638"/>
                <a:gd name="T6" fmla="*/ 0 w 346"/>
                <a:gd name="T7" fmla="*/ 628 h 638"/>
                <a:gd name="T8" fmla="*/ 10 w 346"/>
                <a:gd name="T9" fmla="*/ 638 h 638"/>
                <a:gd name="T10" fmla="*/ 336 w 346"/>
                <a:gd name="T11" fmla="*/ 638 h 638"/>
                <a:gd name="T12" fmla="*/ 346 w 346"/>
                <a:gd name="T13" fmla="*/ 628 h 638"/>
                <a:gd name="T14" fmla="*/ 346 w 346"/>
                <a:gd name="T15" fmla="*/ 10 h 638"/>
                <a:gd name="T16" fmla="*/ 336 w 346"/>
                <a:gd name="T17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6" h="638">
                  <a:moveTo>
                    <a:pt x="33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628"/>
                    <a:pt x="0" y="628"/>
                    <a:pt x="0" y="628"/>
                  </a:cubicBezTo>
                  <a:cubicBezTo>
                    <a:pt x="0" y="633"/>
                    <a:pt x="4" y="638"/>
                    <a:pt x="10" y="638"/>
                  </a:cubicBezTo>
                  <a:cubicBezTo>
                    <a:pt x="336" y="638"/>
                    <a:pt x="336" y="638"/>
                    <a:pt x="336" y="638"/>
                  </a:cubicBezTo>
                  <a:cubicBezTo>
                    <a:pt x="341" y="638"/>
                    <a:pt x="346" y="633"/>
                    <a:pt x="346" y="628"/>
                  </a:cubicBezTo>
                  <a:cubicBezTo>
                    <a:pt x="346" y="10"/>
                    <a:pt x="346" y="10"/>
                    <a:pt x="346" y="10"/>
                  </a:cubicBezTo>
                  <a:cubicBezTo>
                    <a:pt x="346" y="5"/>
                    <a:pt x="341" y="0"/>
                    <a:pt x="33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>
                <a:latin typeface="+mn-lt"/>
              </a:endParaRPr>
            </a:p>
          </p:txBody>
        </p:sp>
        <p:sp>
          <p:nvSpPr>
            <p:cNvPr id="62" name="Freeform 8">
              <a:extLst>
                <a:ext uri="{FF2B5EF4-FFF2-40B4-BE49-F238E27FC236}">
                  <a16:creationId xmlns:a16="http://schemas.microsoft.com/office/drawing/2014/main" id="{94C6C9E3-C1B3-CA18-81DC-22A2F91B2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5859" y="3595068"/>
              <a:ext cx="648" cy="1570"/>
            </a:xfrm>
            <a:custGeom>
              <a:avLst/>
              <a:gdLst>
                <a:gd name="T0" fmla="*/ 336 w 346"/>
                <a:gd name="T1" fmla="*/ 0 h 837"/>
                <a:gd name="T2" fmla="*/ 10 w 346"/>
                <a:gd name="T3" fmla="*/ 0 h 837"/>
                <a:gd name="T4" fmla="*/ 0 w 346"/>
                <a:gd name="T5" fmla="*/ 10 h 837"/>
                <a:gd name="T6" fmla="*/ 0 w 346"/>
                <a:gd name="T7" fmla="*/ 827 h 837"/>
                <a:gd name="T8" fmla="*/ 10 w 346"/>
                <a:gd name="T9" fmla="*/ 837 h 837"/>
                <a:gd name="T10" fmla="*/ 336 w 346"/>
                <a:gd name="T11" fmla="*/ 837 h 837"/>
                <a:gd name="T12" fmla="*/ 346 w 346"/>
                <a:gd name="T13" fmla="*/ 827 h 837"/>
                <a:gd name="T14" fmla="*/ 346 w 346"/>
                <a:gd name="T15" fmla="*/ 10 h 837"/>
                <a:gd name="T16" fmla="*/ 336 w 346"/>
                <a:gd name="T17" fmla="*/ 0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6" h="837">
                  <a:moveTo>
                    <a:pt x="33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827"/>
                    <a:pt x="0" y="827"/>
                    <a:pt x="0" y="827"/>
                  </a:cubicBezTo>
                  <a:cubicBezTo>
                    <a:pt x="0" y="832"/>
                    <a:pt x="5" y="837"/>
                    <a:pt x="10" y="837"/>
                  </a:cubicBezTo>
                  <a:cubicBezTo>
                    <a:pt x="336" y="837"/>
                    <a:pt x="336" y="837"/>
                    <a:pt x="336" y="837"/>
                  </a:cubicBezTo>
                  <a:cubicBezTo>
                    <a:pt x="342" y="837"/>
                    <a:pt x="346" y="832"/>
                    <a:pt x="346" y="827"/>
                  </a:cubicBezTo>
                  <a:cubicBezTo>
                    <a:pt x="346" y="10"/>
                    <a:pt x="346" y="10"/>
                    <a:pt x="346" y="10"/>
                  </a:cubicBezTo>
                  <a:cubicBezTo>
                    <a:pt x="346" y="4"/>
                    <a:pt x="342" y="0"/>
                    <a:pt x="33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>
                <a:latin typeface="+mn-lt"/>
              </a:endParaRPr>
            </a:p>
          </p:txBody>
        </p:sp>
        <p:sp>
          <p:nvSpPr>
            <p:cNvPr id="63" name="Freeform 9">
              <a:extLst>
                <a:ext uri="{FF2B5EF4-FFF2-40B4-BE49-F238E27FC236}">
                  <a16:creationId xmlns:a16="http://schemas.microsoft.com/office/drawing/2014/main" id="{BCA8DFC5-775A-DB5D-331E-93F731E0F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6655" y="3594583"/>
              <a:ext cx="648" cy="2055"/>
            </a:xfrm>
            <a:custGeom>
              <a:avLst/>
              <a:gdLst>
                <a:gd name="T0" fmla="*/ 336 w 346"/>
                <a:gd name="T1" fmla="*/ 0 h 1096"/>
                <a:gd name="T2" fmla="*/ 10 w 346"/>
                <a:gd name="T3" fmla="*/ 0 h 1096"/>
                <a:gd name="T4" fmla="*/ 0 w 346"/>
                <a:gd name="T5" fmla="*/ 10 h 1096"/>
                <a:gd name="T6" fmla="*/ 0 w 346"/>
                <a:gd name="T7" fmla="*/ 1086 h 1096"/>
                <a:gd name="T8" fmla="*/ 10 w 346"/>
                <a:gd name="T9" fmla="*/ 1096 h 1096"/>
                <a:gd name="T10" fmla="*/ 336 w 346"/>
                <a:gd name="T11" fmla="*/ 1096 h 1096"/>
                <a:gd name="T12" fmla="*/ 346 w 346"/>
                <a:gd name="T13" fmla="*/ 1086 h 1096"/>
                <a:gd name="T14" fmla="*/ 346 w 346"/>
                <a:gd name="T15" fmla="*/ 10 h 1096"/>
                <a:gd name="T16" fmla="*/ 336 w 346"/>
                <a:gd name="T17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6" h="1096">
                  <a:moveTo>
                    <a:pt x="33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086"/>
                    <a:pt x="0" y="1086"/>
                    <a:pt x="0" y="1086"/>
                  </a:cubicBezTo>
                  <a:cubicBezTo>
                    <a:pt x="0" y="1091"/>
                    <a:pt x="4" y="1096"/>
                    <a:pt x="10" y="1096"/>
                  </a:cubicBezTo>
                  <a:cubicBezTo>
                    <a:pt x="336" y="1096"/>
                    <a:pt x="336" y="1096"/>
                    <a:pt x="336" y="1096"/>
                  </a:cubicBezTo>
                  <a:cubicBezTo>
                    <a:pt x="341" y="1096"/>
                    <a:pt x="346" y="1091"/>
                    <a:pt x="346" y="1086"/>
                  </a:cubicBezTo>
                  <a:cubicBezTo>
                    <a:pt x="346" y="10"/>
                    <a:pt x="346" y="10"/>
                    <a:pt x="346" y="10"/>
                  </a:cubicBezTo>
                  <a:cubicBezTo>
                    <a:pt x="346" y="5"/>
                    <a:pt x="341" y="0"/>
                    <a:pt x="33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>
                <a:latin typeface="+mn-lt"/>
              </a:endParaRPr>
            </a:p>
          </p:txBody>
        </p:sp>
      </p:grpSp>
      <p:grpSp>
        <p:nvGrpSpPr>
          <p:cNvPr id="64" name="Group 11">
            <a:extLst>
              <a:ext uri="{FF2B5EF4-FFF2-40B4-BE49-F238E27FC236}">
                <a16:creationId xmlns:a16="http://schemas.microsoft.com/office/drawing/2014/main" id="{71175575-F6D6-9367-EADF-CAF9C96E1366}"/>
              </a:ext>
            </a:extLst>
          </p:cNvPr>
          <p:cNvGrpSpPr/>
          <p:nvPr/>
        </p:nvGrpSpPr>
        <p:grpSpPr>
          <a:xfrm>
            <a:off x="4887933" y="3628360"/>
            <a:ext cx="652300" cy="891986"/>
            <a:chOff x="367665" y="1548632"/>
            <a:chExt cx="909066" cy="1323213"/>
          </a:xfrm>
        </p:grpSpPr>
        <p:sp>
          <p:nvSpPr>
            <p:cNvPr id="65" name="Freeform 25">
              <a:extLst>
                <a:ext uri="{FF2B5EF4-FFF2-40B4-BE49-F238E27FC236}">
                  <a16:creationId xmlns:a16="http://schemas.microsoft.com/office/drawing/2014/main" id="{80CDD8F5-B250-577A-9C3D-35E20572B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665" y="1664456"/>
              <a:ext cx="909066" cy="1207389"/>
            </a:xfrm>
            <a:custGeom>
              <a:avLst/>
              <a:gdLst>
                <a:gd name="T0" fmla="*/ 1252 w 1274"/>
                <a:gd name="T1" fmla="*/ 0 h 1690"/>
                <a:gd name="T2" fmla="*/ 887 w 1274"/>
                <a:gd name="T3" fmla="*/ 0 h 1690"/>
                <a:gd name="T4" fmla="*/ 887 w 1274"/>
                <a:gd name="T5" fmla="*/ 44 h 1690"/>
                <a:gd name="T6" fmla="*/ 1230 w 1274"/>
                <a:gd name="T7" fmla="*/ 44 h 1690"/>
                <a:gd name="T8" fmla="*/ 1230 w 1274"/>
                <a:gd name="T9" fmla="*/ 1646 h 1690"/>
                <a:gd name="T10" fmla="*/ 44 w 1274"/>
                <a:gd name="T11" fmla="*/ 1646 h 1690"/>
                <a:gd name="T12" fmla="*/ 44 w 1274"/>
                <a:gd name="T13" fmla="*/ 44 h 1690"/>
                <a:gd name="T14" fmla="*/ 387 w 1274"/>
                <a:gd name="T15" fmla="*/ 44 h 1690"/>
                <a:gd name="T16" fmla="*/ 387 w 1274"/>
                <a:gd name="T17" fmla="*/ 0 h 1690"/>
                <a:gd name="T18" fmla="*/ 22 w 1274"/>
                <a:gd name="T19" fmla="*/ 0 h 1690"/>
                <a:gd name="T20" fmla="*/ 0 w 1274"/>
                <a:gd name="T21" fmla="*/ 22 h 1690"/>
                <a:gd name="T22" fmla="*/ 0 w 1274"/>
                <a:gd name="T23" fmla="*/ 1668 h 1690"/>
                <a:gd name="T24" fmla="*/ 22 w 1274"/>
                <a:gd name="T25" fmla="*/ 1690 h 1690"/>
                <a:gd name="T26" fmla="*/ 1252 w 1274"/>
                <a:gd name="T27" fmla="*/ 1690 h 1690"/>
                <a:gd name="T28" fmla="*/ 1274 w 1274"/>
                <a:gd name="T29" fmla="*/ 1668 h 1690"/>
                <a:gd name="T30" fmla="*/ 1274 w 1274"/>
                <a:gd name="T31" fmla="*/ 22 h 1690"/>
                <a:gd name="T32" fmla="*/ 1252 w 1274"/>
                <a:gd name="T33" fmla="*/ 0 h 1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4" h="1690">
                  <a:moveTo>
                    <a:pt x="1252" y="0"/>
                  </a:moveTo>
                  <a:cubicBezTo>
                    <a:pt x="887" y="0"/>
                    <a:pt x="887" y="0"/>
                    <a:pt x="887" y="0"/>
                  </a:cubicBezTo>
                  <a:cubicBezTo>
                    <a:pt x="887" y="44"/>
                    <a:pt x="887" y="44"/>
                    <a:pt x="887" y="44"/>
                  </a:cubicBezTo>
                  <a:cubicBezTo>
                    <a:pt x="1230" y="44"/>
                    <a:pt x="1230" y="44"/>
                    <a:pt x="1230" y="44"/>
                  </a:cubicBezTo>
                  <a:cubicBezTo>
                    <a:pt x="1230" y="1646"/>
                    <a:pt x="1230" y="1646"/>
                    <a:pt x="1230" y="1646"/>
                  </a:cubicBezTo>
                  <a:cubicBezTo>
                    <a:pt x="44" y="1646"/>
                    <a:pt x="44" y="1646"/>
                    <a:pt x="44" y="164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387" y="44"/>
                    <a:pt x="387" y="44"/>
                    <a:pt x="387" y="44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668"/>
                    <a:pt x="0" y="1668"/>
                    <a:pt x="0" y="1668"/>
                  </a:cubicBezTo>
                  <a:cubicBezTo>
                    <a:pt x="0" y="1680"/>
                    <a:pt x="10" y="1690"/>
                    <a:pt x="22" y="1690"/>
                  </a:cubicBezTo>
                  <a:cubicBezTo>
                    <a:pt x="1252" y="1690"/>
                    <a:pt x="1252" y="1690"/>
                    <a:pt x="1252" y="1690"/>
                  </a:cubicBezTo>
                  <a:cubicBezTo>
                    <a:pt x="1264" y="1690"/>
                    <a:pt x="1274" y="1680"/>
                    <a:pt x="1274" y="1668"/>
                  </a:cubicBezTo>
                  <a:cubicBezTo>
                    <a:pt x="1274" y="22"/>
                    <a:pt x="1274" y="22"/>
                    <a:pt x="1274" y="22"/>
                  </a:cubicBezTo>
                  <a:cubicBezTo>
                    <a:pt x="1274" y="10"/>
                    <a:pt x="1264" y="0"/>
                    <a:pt x="125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6">
              <a:extLst>
                <a:ext uri="{FF2B5EF4-FFF2-40B4-BE49-F238E27FC236}">
                  <a16:creationId xmlns:a16="http://schemas.microsoft.com/office/drawing/2014/main" id="{1DD0BC71-EF53-0FD4-D3A1-D28C576188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016" y="1548632"/>
              <a:ext cx="626364" cy="1141095"/>
            </a:xfrm>
            <a:custGeom>
              <a:avLst/>
              <a:gdLst>
                <a:gd name="T0" fmla="*/ 22 w 878"/>
                <a:gd name="T1" fmla="*/ 623 h 1597"/>
                <a:gd name="T2" fmla="*/ 22 w 878"/>
                <a:gd name="T3" fmla="*/ 579 h 1597"/>
                <a:gd name="T4" fmla="*/ 878 w 878"/>
                <a:gd name="T5" fmla="*/ 601 h 1597"/>
                <a:gd name="T6" fmla="*/ 878 w 878"/>
                <a:gd name="T7" fmla="*/ 764 h 1597"/>
                <a:gd name="T8" fmla="*/ 22 w 878"/>
                <a:gd name="T9" fmla="*/ 742 h 1597"/>
                <a:gd name="T10" fmla="*/ 22 w 878"/>
                <a:gd name="T11" fmla="*/ 786 h 1597"/>
                <a:gd name="T12" fmla="*/ 878 w 878"/>
                <a:gd name="T13" fmla="*/ 764 h 1597"/>
                <a:gd name="T14" fmla="*/ 856 w 878"/>
                <a:gd name="T15" fmla="*/ 904 h 1597"/>
                <a:gd name="T16" fmla="*/ 0 w 878"/>
                <a:gd name="T17" fmla="*/ 926 h 1597"/>
                <a:gd name="T18" fmla="*/ 856 w 878"/>
                <a:gd name="T19" fmla="*/ 948 h 1597"/>
                <a:gd name="T20" fmla="*/ 878 w 878"/>
                <a:gd name="T21" fmla="*/ 1088 h 1597"/>
                <a:gd name="T22" fmla="*/ 22 w 878"/>
                <a:gd name="T23" fmla="*/ 1066 h 1597"/>
                <a:gd name="T24" fmla="*/ 22 w 878"/>
                <a:gd name="T25" fmla="*/ 1110 h 1597"/>
                <a:gd name="T26" fmla="*/ 878 w 878"/>
                <a:gd name="T27" fmla="*/ 1088 h 1597"/>
                <a:gd name="T28" fmla="*/ 856 w 878"/>
                <a:gd name="T29" fmla="*/ 1228 h 1597"/>
                <a:gd name="T30" fmla="*/ 0 w 878"/>
                <a:gd name="T31" fmla="*/ 1250 h 1597"/>
                <a:gd name="T32" fmla="*/ 856 w 878"/>
                <a:gd name="T33" fmla="*/ 1272 h 1597"/>
                <a:gd name="T34" fmla="*/ 878 w 878"/>
                <a:gd name="T35" fmla="*/ 1413 h 1597"/>
                <a:gd name="T36" fmla="*/ 22 w 878"/>
                <a:gd name="T37" fmla="*/ 1391 h 1597"/>
                <a:gd name="T38" fmla="*/ 22 w 878"/>
                <a:gd name="T39" fmla="*/ 1435 h 1597"/>
                <a:gd name="T40" fmla="*/ 878 w 878"/>
                <a:gd name="T41" fmla="*/ 1413 h 1597"/>
                <a:gd name="T42" fmla="*/ 856 w 878"/>
                <a:gd name="T43" fmla="*/ 1553 h 1597"/>
                <a:gd name="T44" fmla="*/ 0 w 878"/>
                <a:gd name="T45" fmla="*/ 1575 h 1597"/>
                <a:gd name="T46" fmla="*/ 856 w 878"/>
                <a:gd name="T47" fmla="*/ 1597 h 1597"/>
                <a:gd name="T48" fmla="*/ 645 w 878"/>
                <a:gd name="T49" fmla="*/ 104 h 1597"/>
                <a:gd name="T50" fmla="*/ 623 w 878"/>
                <a:gd name="T51" fmla="*/ 275 h 1597"/>
                <a:gd name="T52" fmla="*/ 233 w 878"/>
                <a:gd name="T53" fmla="*/ 253 h 1597"/>
                <a:gd name="T54" fmla="*/ 243 w 878"/>
                <a:gd name="T55" fmla="*/ 94 h 1597"/>
                <a:gd name="T56" fmla="*/ 439 w 878"/>
                <a:gd name="T57" fmla="*/ 0 h 1597"/>
                <a:gd name="T58" fmla="*/ 635 w 878"/>
                <a:gd name="T59" fmla="*/ 94 h 1597"/>
                <a:gd name="T60" fmla="*/ 360 w 878"/>
                <a:gd name="T61" fmla="*/ 94 h 1597"/>
                <a:gd name="T62" fmla="*/ 439 w 878"/>
                <a:gd name="T63" fmla="*/ 44 h 1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78" h="1597">
                  <a:moveTo>
                    <a:pt x="856" y="623"/>
                  </a:moveTo>
                  <a:cubicBezTo>
                    <a:pt x="22" y="623"/>
                    <a:pt x="22" y="623"/>
                    <a:pt x="22" y="623"/>
                  </a:cubicBezTo>
                  <a:cubicBezTo>
                    <a:pt x="9" y="623"/>
                    <a:pt x="0" y="613"/>
                    <a:pt x="0" y="601"/>
                  </a:cubicBezTo>
                  <a:cubicBezTo>
                    <a:pt x="0" y="589"/>
                    <a:pt x="9" y="579"/>
                    <a:pt x="22" y="579"/>
                  </a:cubicBezTo>
                  <a:cubicBezTo>
                    <a:pt x="856" y="579"/>
                    <a:pt x="856" y="579"/>
                    <a:pt x="856" y="579"/>
                  </a:cubicBezTo>
                  <a:cubicBezTo>
                    <a:pt x="869" y="579"/>
                    <a:pt x="878" y="589"/>
                    <a:pt x="878" y="601"/>
                  </a:cubicBezTo>
                  <a:cubicBezTo>
                    <a:pt x="878" y="613"/>
                    <a:pt x="869" y="623"/>
                    <a:pt x="856" y="623"/>
                  </a:cubicBezTo>
                  <a:close/>
                  <a:moveTo>
                    <a:pt x="878" y="764"/>
                  </a:moveTo>
                  <a:cubicBezTo>
                    <a:pt x="878" y="751"/>
                    <a:pt x="869" y="742"/>
                    <a:pt x="856" y="742"/>
                  </a:cubicBezTo>
                  <a:cubicBezTo>
                    <a:pt x="22" y="742"/>
                    <a:pt x="22" y="742"/>
                    <a:pt x="22" y="742"/>
                  </a:cubicBezTo>
                  <a:cubicBezTo>
                    <a:pt x="9" y="742"/>
                    <a:pt x="0" y="751"/>
                    <a:pt x="0" y="764"/>
                  </a:cubicBezTo>
                  <a:cubicBezTo>
                    <a:pt x="0" y="776"/>
                    <a:pt x="9" y="786"/>
                    <a:pt x="22" y="786"/>
                  </a:cubicBezTo>
                  <a:cubicBezTo>
                    <a:pt x="856" y="786"/>
                    <a:pt x="856" y="786"/>
                    <a:pt x="856" y="786"/>
                  </a:cubicBezTo>
                  <a:cubicBezTo>
                    <a:pt x="869" y="786"/>
                    <a:pt x="878" y="776"/>
                    <a:pt x="878" y="764"/>
                  </a:cubicBezTo>
                  <a:close/>
                  <a:moveTo>
                    <a:pt x="878" y="926"/>
                  </a:moveTo>
                  <a:cubicBezTo>
                    <a:pt x="878" y="914"/>
                    <a:pt x="869" y="904"/>
                    <a:pt x="856" y="904"/>
                  </a:cubicBezTo>
                  <a:cubicBezTo>
                    <a:pt x="22" y="904"/>
                    <a:pt x="22" y="904"/>
                    <a:pt x="22" y="904"/>
                  </a:cubicBezTo>
                  <a:cubicBezTo>
                    <a:pt x="9" y="904"/>
                    <a:pt x="0" y="914"/>
                    <a:pt x="0" y="926"/>
                  </a:cubicBezTo>
                  <a:cubicBezTo>
                    <a:pt x="0" y="938"/>
                    <a:pt x="9" y="948"/>
                    <a:pt x="22" y="948"/>
                  </a:cubicBezTo>
                  <a:cubicBezTo>
                    <a:pt x="856" y="948"/>
                    <a:pt x="856" y="948"/>
                    <a:pt x="856" y="948"/>
                  </a:cubicBezTo>
                  <a:cubicBezTo>
                    <a:pt x="869" y="948"/>
                    <a:pt x="878" y="938"/>
                    <a:pt x="878" y="926"/>
                  </a:cubicBezTo>
                  <a:close/>
                  <a:moveTo>
                    <a:pt x="878" y="1088"/>
                  </a:moveTo>
                  <a:cubicBezTo>
                    <a:pt x="878" y="1076"/>
                    <a:pt x="869" y="1066"/>
                    <a:pt x="856" y="1066"/>
                  </a:cubicBezTo>
                  <a:cubicBezTo>
                    <a:pt x="22" y="1066"/>
                    <a:pt x="22" y="1066"/>
                    <a:pt x="22" y="1066"/>
                  </a:cubicBezTo>
                  <a:cubicBezTo>
                    <a:pt x="9" y="1066"/>
                    <a:pt x="0" y="1076"/>
                    <a:pt x="0" y="1088"/>
                  </a:cubicBezTo>
                  <a:cubicBezTo>
                    <a:pt x="0" y="1100"/>
                    <a:pt x="9" y="1110"/>
                    <a:pt x="22" y="1110"/>
                  </a:cubicBezTo>
                  <a:cubicBezTo>
                    <a:pt x="856" y="1110"/>
                    <a:pt x="856" y="1110"/>
                    <a:pt x="856" y="1110"/>
                  </a:cubicBezTo>
                  <a:cubicBezTo>
                    <a:pt x="869" y="1110"/>
                    <a:pt x="878" y="1100"/>
                    <a:pt x="878" y="1088"/>
                  </a:cubicBezTo>
                  <a:close/>
                  <a:moveTo>
                    <a:pt x="878" y="1250"/>
                  </a:moveTo>
                  <a:cubicBezTo>
                    <a:pt x="878" y="1238"/>
                    <a:pt x="869" y="1228"/>
                    <a:pt x="856" y="1228"/>
                  </a:cubicBezTo>
                  <a:cubicBezTo>
                    <a:pt x="22" y="1228"/>
                    <a:pt x="22" y="1228"/>
                    <a:pt x="22" y="1228"/>
                  </a:cubicBezTo>
                  <a:cubicBezTo>
                    <a:pt x="9" y="1228"/>
                    <a:pt x="0" y="1238"/>
                    <a:pt x="0" y="1250"/>
                  </a:cubicBezTo>
                  <a:cubicBezTo>
                    <a:pt x="0" y="1263"/>
                    <a:pt x="9" y="1272"/>
                    <a:pt x="22" y="1272"/>
                  </a:cubicBezTo>
                  <a:cubicBezTo>
                    <a:pt x="856" y="1272"/>
                    <a:pt x="856" y="1272"/>
                    <a:pt x="856" y="1272"/>
                  </a:cubicBezTo>
                  <a:cubicBezTo>
                    <a:pt x="869" y="1272"/>
                    <a:pt x="878" y="1263"/>
                    <a:pt x="878" y="1250"/>
                  </a:cubicBezTo>
                  <a:close/>
                  <a:moveTo>
                    <a:pt x="878" y="1413"/>
                  </a:moveTo>
                  <a:cubicBezTo>
                    <a:pt x="878" y="1401"/>
                    <a:pt x="869" y="1391"/>
                    <a:pt x="856" y="1391"/>
                  </a:cubicBezTo>
                  <a:cubicBezTo>
                    <a:pt x="22" y="1391"/>
                    <a:pt x="22" y="1391"/>
                    <a:pt x="22" y="1391"/>
                  </a:cubicBezTo>
                  <a:cubicBezTo>
                    <a:pt x="9" y="1391"/>
                    <a:pt x="0" y="1401"/>
                    <a:pt x="0" y="1413"/>
                  </a:cubicBezTo>
                  <a:cubicBezTo>
                    <a:pt x="0" y="1425"/>
                    <a:pt x="9" y="1435"/>
                    <a:pt x="22" y="1435"/>
                  </a:cubicBezTo>
                  <a:cubicBezTo>
                    <a:pt x="856" y="1435"/>
                    <a:pt x="856" y="1435"/>
                    <a:pt x="856" y="1435"/>
                  </a:cubicBezTo>
                  <a:cubicBezTo>
                    <a:pt x="869" y="1435"/>
                    <a:pt x="878" y="1425"/>
                    <a:pt x="878" y="1413"/>
                  </a:cubicBezTo>
                  <a:close/>
                  <a:moveTo>
                    <a:pt x="878" y="1575"/>
                  </a:moveTo>
                  <a:cubicBezTo>
                    <a:pt x="878" y="1563"/>
                    <a:pt x="869" y="1553"/>
                    <a:pt x="856" y="1553"/>
                  </a:cubicBezTo>
                  <a:cubicBezTo>
                    <a:pt x="22" y="1553"/>
                    <a:pt x="22" y="1553"/>
                    <a:pt x="22" y="1553"/>
                  </a:cubicBezTo>
                  <a:cubicBezTo>
                    <a:pt x="9" y="1553"/>
                    <a:pt x="0" y="1563"/>
                    <a:pt x="0" y="1575"/>
                  </a:cubicBezTo>
                  <a:cubicBezTo>
                    <a:pt x="0" y="1587"/>
                    <a:pt x="9" y="1597"/>
                    <a:pt x="22" y="1597"/>
                  </a:cubicBezTo>
                  <a:cubicBezTo>
                    <a:pt x="856" y="1597"/>
                    <a:pt x="856" y="1597"/>
                    <a:pt x="856" y="1597"/>
                  </a:cubicBezTo>
                  <a:cubicBezTo>
                    <a:pt x="869" y="1597"/>
                    <a:pt x="878" y="1587"/>
                    <a:pt x="878" y="1575"/>
                  </a:cubicBezTo>
                  <a:close/>
                  <a:moveTo>
                    <a:pt x="645" y="104"/>
                  </a:moveTo>
                  <a:cubicBezTo>
                    <a:pt x="645" y="253"/>
                    <a:pt x="645" y="253"/>
                    <a:pt x="645" y="253"/>
                  </a:cubicBezTo>
                  <a:cubicBezTo>
                    <a:pt x="645" y="265"/>
                    <a:pt x="635" y="275"/>
                    <a:pt x="623" y="275"/>
                  </a:cubicBezTo>
                  <a:cubicBezTo>
                    <a:pt x="255" y="275"/>
                    <a:pt x="255" y="275"/>
                    <a:pt x="255" y="275"/>
                  </a:cubicBezTo>
                  <a:cubicBezTo>
                    <a:pt x="243" y="275"/>
                    <a:pt x="233" y="265"/>
                    <a:pt x="233" y="253"/>
                  </a:cubicBezTo>
                  <a:cubicBezTo>
                    <a:pt x="233" y="104"/>
                    <a:pt x="233" y="104"/>
                    <a:pt x="233" y="104"/>
                  </a:cubicBezTo>
                  <a:cubicBezTo>
                    <a:pt x="233" y="98"/>
                    <a:pt x="237" y="94"/>
                    <a:pt x="243" y="94"/>
                  </a:cubicBezTo>
                  <a:cubicBezTo>
                    <a:pt x="313" y="94"/>
                    <a:pt x="313" y="94"/>
                    <a:pt x="313" y="94"/>
                  </a:cubicBezTo>
                  <a:cubicBezTo>
                    <a:pt x="329" y="39"/>
                    <a:pt x="380" y="0"/>
                    <a:pt x="439" y="0"/>
                  </a:cubicBezTo>
                  <a:cubicBezTo>
                    <a:pt x="498" y="0"/>
                    <a:pt x="549" y="39"/>
                    <a:pt x="565" y="94"/>
                  </a:cubicBezTo>
                  <a:cubicBezTo>
                    <a:pt x="635" y="94"/>
                    <a:pt x="635" y="94"/>
                    <a:pt x="635" y="94"/>
                  </a:cubicBezTo>
                  <a:cubicBezTo>
                    <a:pt x="641" y="94"/>
                    <a:pt x="645" y="98"/>
                    <a:pt x="645" y="104"/>
                  </a:cubicBezTo>
                  <a:close/>
                  <a:moveTo>
                    <a:pt x="360" y="94"/>
                  </a:moveTo>
                  <a:cubicBezTo>
                    <a:pt x="518" y="94"/>
                    <a:pt x="518" y="94"/>
                    <a:pt x="518" y="94"/>
                  </a:cubicBezTo>
                  <a:cubicBezTo>
                    <a:pt x="504" y="64"/>
                    <a:pt x="474" y="44"/>
                    <a:pt x="439" y="44"/>
                  </a:cubicBezTo>
                  <a:cubicBezTo>
                    <a:pt x="404" y="44"/>
                    <a:pt x="374" y="64"/>
                    <a:pt x="360" y="9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bcgIcons_Global">
            <a:extLst>
              <a:ext uri="{FF2B5EF4-FFF2-40B4-BE49-F238E27FC236}">
                <a16:creationId xmlns:a16="http://schemas.microsoft.com/office/drawing/2014/main" id="{B7757124-0C6F-E861-E870-70743A2827B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49581" y="1922975"/>
            <a:ext cx="974596" cy="975500"/>
            <a:chOff x="1682" y="0"/>
            <a:chExt cx="4316" cy="4320"/>
          </a:xfrm>
        </p:grpSpPr>
        <p:sp>
          <p:nvSpPr>
            <p:cNvPr id="68" name="AutoShape 28">
              <a:extLst>
                <a:ext uri="{FF2B5EF4-FFF2-40B4-BE49-F238E27FC236}">
                  <a16:creationId xmlns:a16="http://schemas.microsoft.com/office/drawing/2014/main" id="{F6EC4632-A50A-B882-2CD4-5F49F7C724D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AU"/>
            </a:p>
          </p:txBody>
        </p:sp>
        <p:sp>
          <p:nvSpPr>
            <p:cNvPr id="69" name="Freeform 30">
              <a:extLst>
                <a:ext uri="{FF2B5EF4-FFF2-40B4-BE49-F238E27FC236}">
                  <a16:creationId xmlns:a16="http://schemas.microsoft.com/office/drawing/2014/main" id="{28F1B9D7-B9A4-9FAF-C02B-058FB4238E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8" y="444"/>
              <a:ext cx="3424" cy="3428"/>
            </a:xfrm>
            <a:custGeom>
              <a:avLst/>
              <a:gdLst>
                <a:gd name="T0" fmla="*/ 914 w 1828"/>
                <a:gd name="T1" fmla="*/ 1828 h 1828"/>
                <a:gd name="T2" fmla="*/ 268 w 1828"/>
                <a:gd name="T3" fmla="*/ 1560 h 1828"/>
                <a:gd name="T4" fmla="*/ 0 w 1828"/>
                <a:gd name="T5" fmla="*/ 914 h 1828"/>
                <a:gd name="T6" fmla="*/ 268 w 1828"/>
                <a:gd name="T7" fmla="*/ 268 h 1828"/>
                <a:gd name="T8" fmla="*/ 914 w 1828"/>
                <a:gd name="T9" fmla="*/ 0 h 1828"/>
                <a:gd name="T10" fmla="*/ 1560 w 1828"/>
                <a:gd name="T11" fmla="*/ 268 h 1828"/>
                <a:gd name="T12" fmla="*/ 1828 w 1828"/>
                <a:gd name="T13" fmla="*/ 914 h 1828"/>
                <a:gd name="T14" fmla="*/ 1560 w 1828"/>
                <a:gd name="T15" fmla="*/ 1560 h 1828"/>
                <a:gd name="T16" fmla="*/ 914 w 1828"/>
                <a:gd name="T17" fmla="*/ 1828 h 1828"/>
                <a:gd name="T18" fmla="*/ 914 w 1828"/>
                <a:gd name="T19" fmla="*/ 44 h 1828"/>
                <a:gd name="T20" fmla="*/ 44 w 1828"/>
                <a:gd name="T21" fmla="*/ 914 h 1828"/>
                <a:gd name="T22" fmla="*/ 914 w 1828"/>
                <a:gd name="T23" fmla="*/ 1784 h 1828"/>
                <a:gd name="T24" fmla="*/ 1784 w 1828"/>
                <a:gd name="T25" fmla="*/ 914 h 1828"/>
                <a:gd name="T26" fmla="*/ 914 w 1828"/>
                <a:gd name="T27" fmla="*/ 44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28" h="1828">
                  <a:moveTo>
                    <a:pt x="914" y="1828"/>
                  </a:moveTo>
                  <a:cubicBezTo>
                    <a:pt x="670" y="1828"/>
                    <a:pt x="440" y="1733"/>
                    <a:pt x="268" y="1560"/>
                  </a:cubicBezTo>
                  <a:cubicBezTo>
                    <a:pt x="95" y="1388"/>
                    <a:pt x="0" y="1158"/>
                    <a:pt x="0" y="914"/>
                  </a:cubicBezTo>
                  <a:cubicBezTo>
                    <a:pt x="0" y="670"/>
                    <a:pt x="95" y="440"/>
                    <a:pt x="268" y="268"/>
                  </a:cubicBezTo>
                  <a:cubicBezTo>
                    <a:pt x="440" y="95"/>
                    <a:pt x="670" y="0"/>
                    <a:pt x="914" y="0"/>
                  </a:cubicBezTo>
                  <a:cubicBezTo>
                    <a:pt x="1158" y="0"/>
                    <a:pt x="1388" y="95"/>
                    <a:pt x="1560" y="268"/>
                  </a:cubicBezTo>
                  <a:cubicBezTo>
                    <a:pt x="1733" y="440"/>
                    <a:pt x="1828" y="670"/>
                    <a:pt x="1828" y="914"/>
                  </a:cubicBezTo>
                  <a:cubicBezTo>
                    <a:pt x="1828" y="1158"/>
                    <a:pt x="1733" y="1388"/>
                    <a:pt x="1560" y="1560"/>
                  </a:cubicBezTo>
                  <a:cubicBezTo>
                    <a:pt x="1388" y="1733"/>
                    <a:pt x="1158" y="1828"/>
                    <a:pt x="914" y="1828"/>
                  </a:cubicBezTo>
                  <a:close/>
                  <a:moveTo>
                    <a:pt x="914" y="44"/>
                  </a:moveTo>
                  <a:cubicBezTo>
                    <a:pt x="434" y="44"/>
                    <a:pt x="44" y="434"/>
                    <a:pt x="44" y="914"/>
                  </a:cubicBezTo>
                  <a:cubicBezTo>
                    <a:pt x="44" y="1394"/>
                    <a:pt x="434" y="1784"/>
                    <a:pt x="914" y="1784"/>
                  </a:cubicBezTo>
                  <a:cubicBezTo>
                    <a:pt x="1394" y="1784"/>
                    <a:pt x="1784" y="1394"/>
                    <a:pt x="1784" y="914"/>
                  </a:cubicBezTo>
                  <a:cubicBezTo>
                    <a:pt x="1784" y="434"/>
                    <a:pt x="1394" y="44"/>
                    <a:pt x="914" y="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AU"/>
            </a:p>
          </p:txBody>
        </p:sp>
        <p:sp>
          <p:nvSpPr>
            <p:cNvPr id="70" name="Freeform 31">
              <a:extLst>
                <a:ext uri="{FF2B5EF4-FFF2-40B4-BE49-F238E27FC236}">
                  <a16:creationId xmlns:a16="http://schemas.microsoft.com/office/drawing/2014/main" id="{1E33E5E2-CBAA-B03B-D623-B4B2EE711D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3" y="609"/>
              <a:ext cx="3094" cy="3098"/>
            </a:xfrm>
            <a:custGeom>
              <a:avLst/>
              <a:gdLst>
                <a:gd name="T0" fmla="*/ 1408 w 1652"/>
                <a:gd name="T1" fmla="*/ 241 h 1652"/>
                <a:gd name="T2" fmla="*/ 1227 w 1652"/>
                <a:gd name="T3" fmla="*/ 278 h 1652"/>
                <a:gd name="T4" fmla="*/ 1189 w 1652"/>
                <a:gd name="T5" fmla="*/ 209 h 1652"/>
                <a:gd name="T6" fmla="*/ 882 w 1652"/>
                <a:gd name="T7" fmla="*/ 372 h 1652"/>
                <a:gd name="T8" fmla="*/ 1184 w 1652"/>
                <a:gd name="T9" fmla="*/ 295 h 1652"/>
                <a:gd name="T10" fmla="*/ 909 w 1652"/>
                <a:gd name="T11" fmla="*/ 4 h 1652"/>
                <a:gd name="T12" fmla="*/ 848 w 1652"/>
                <a:gd name="T13" fmla="*/ 338 h 1652"/>
                <a:gd name="T14" fmla="*/ 804 w 1652"/>
                <a:gd name="T15" fmla="*/ 452 h 1652"/>
                <a:gd name="T16" fmla="*/ 475 w 1652"/>
                <a:gd name="T17" fmla="*/ 375 h 1652"/>
                <a:gd name="T18" fmla="*/ 362 w 1652"/>
                <a:gd name="T19" fmla="*/ 770 h 1652"/>
                <a:gd name="T20" fmla="*/ 769 w 1652"/>
                <a:gd name="T21" fmla="*/ 804 h 1652"/>
                <a:gd name="T22" fmla="*/ 804 w 1652"/>
                <a:gd name="T23" fmla="*/ 452 h 1652"/>
                <a:gd name="T24" fmla="*/ 1177 w 1652"/>
                <a:gd name="T25" fmla="*/ 375 h 1652"/>
                <a:gd name="T26" fmla="*/ 848 w 1652"/>
                <a:gd name="T27" fmla="*/ 452 h 1652"/>
                <a:gd name="T28" fmla="*/ 883 w 1652"/>
                <a:gd name="T29" fmla="*/ 804 h 1652"/>
                <a:gd name="T30" fmla="*/ 1290 w 1652"/>
                <a:gd name="T31" fmla="*/ 770 h 1652"/>
                <a:gd name="T32" fmla="*/ 769 w 1652"/>
                <a:gd name="T33" fmla="*/ 848 h 1652"/>
                <a:gd name="T34" fmla="*/ 362 w 1652"/>
                <a:gd name="T35" fmla="*/ 882 h 1652"/>
                <a:gd name="T36" fmla="*/ 475 w 1652"/>
                <a:gd name="T37" fmla="*/ 1277 h 1652"/>
                <a:gd name="T38" fmla="*/ 804 w 1652"/>
                <a:gd name="T39" fmla="*/ 1200 h 1652"/>
                <a:gd name="T40" fmla="*/ 769 w 1652"/>
                <a:gd name="T41" fmla="*/ 848 h 1652"/>
                <a:gd name="T42" fmla="*/ 1184 w 1652"/>
                <a:gd name="T43" fmla="*/ 1357 h 1652"/>
                <a:gd name="T44" fmla="*/ 882 w 1652"/>
                <a:gd name="T45" fmla="*/ 1280 h 1652"/>
                <a:gd name="T46" fmla="*/ 848 w 1652"/>
                <a:gd name="T47" fmla="*/ 1652 h 1652"/>
                <a:gd name="T48" fmla="*/ 1151 w 1652"/>
                <a:gd name="T49" fmla="*/ 1421 h 1652"/>
                <a:gd name="T50" fmla="*/ 1256 w 1652"/>
                <a:gd name="T51" fmla="*/ 848 h 1652"/>
                <a:gd name="T52" fmla="*/ 848 w 1652"/>
                <a:gd name="T53" fmla="*/ 883 h 1652"/>
                <a:gd name="T54" fmla="*/ 883 w 1652"/>
                <a:gd name="T55" fmla="*/ 1236 h 1652"/>
                <a:gd name="T56" fmla="*/ 1225 w 1652"/>
                <a:gd name="T57" fmla="*/ 1252 h 1652"/>
                <a:gd name="T58" fmla="*/ 1267 w 1652"/>
                <a:gd name="T59" fmla="*/ 385 h 1652"/>
                <a:gd name="T60" fmla="*/ 1370 w 1652"/>
                <a:gd name="T61" fmla="*/ 804 h 1652"/>
                <a:gd name="T62" fmla="*/ 1440 w 1652"/>
                <a:gd name="T63" fmla="*/ 274 h 1652"/>
                <a:gd name="T64" fmla="*/ 1267 w 1652"/>
                <a:gd name="T65" fmla="*/ 385 h 1652"/>
                <a:gd name="T66" fmla="*/ 1227 w 1652"/>
                <a:gd name="T67" fmla="*/ 1374 h 1652"/>
                <a:gd name="T68" fmla="*/ 1189 w 1652"/>
                <a:gd name="T69" fmla="*/ 1443 h 1652"/>
                <a:gd name="T70" fmla="*/ 1408 w 1652"/>
                <a:gd name="T71" fmla="*/ 1411 h 1652"/>
                <a:gd name="T72" fmla="*/ 463 w 1652"/>
                <a:gd name="T73" fmla="*/ 1443 h 1652"/>
                <a:gd name="T74" fmla="*/ 426 w 1652"/>
                <a:gd name="T75" fmla="*/ 1374 h 1652"/>
                <a:gd name="T76" fmla="*/ 244 w 1652"/>
                <a:gd name="T77" fmla="*/ 1411 h 1652"/>
                <a:gd name="T78" fmla="*/ 463 w 1652"/>
                <a:gd name="T79" fmla="*/ 1443 h 1652"/>
                <a:gd name="T80" fmla="*/ 486 w 1652"/>
                <a:gd name="T81" fmla="*/ 1319 h 1652"/>
                <a:gd name="T82" fmla="*/ 501 w 1652"/>
                <a:gd name="T83" fmla="*/ 1421 h 1652"/>
                <a:gd name="T84" fmla="*/ 804 w 1652"/>
                <a:gd name="T85" fmla="*/ 1652 h 1652"/>
                <a:gd name="T86" fmla="*/ 770 w 1652"/>
                <a:gd name="T87" fmla="*/ 1280 h 1652"/>
                <a:gd name="T88" fmla="*/ 1334 w 1652"/>
                <a:gd name="T89" fmla="*/ 883 h 1652"/>
                <a:gd name="T90" fmla="*/ 1287 w 1652"/>
                <a:gd name="T91" fmla="*/ 1310 h 1652"/>
                <a:gd name="T92" fmla="*/ 1652 w 1652"/>
                <a:gd name="T93" fmla="*/ 848 h 1652"/>
                <a:gd name="T94" fmla="*/ 804 w 1652"/>
                <a:gd name="T95" fmla="*/ 0 h 1652"/>
                <a:gd name="T96" fmla="*/ 501 w 1652"/>
                <a:gd name="T97" fmla="*/ 231 h 1652"/>
                <a:gd name="T98" fmla="*/ 486 w 1652"/>
                <a:gd name="T99" fmla="*/ 333 h 1652"/>
                <a:gd name="T100" fmla="*/ 804 w 1652"/>
                <a:gd name="T101" fmla="*/ 338 h 1652"/>
                <a:gd name="T102" fmla="*/ 378 w 1652"/>
                <a:gd name="T103" fmla="*/ 300 h 1652"/>
                <a:gd name="T104" fmla="*/ 427 w 1652"/>
                <a:gd name="T105" fmla="*/ 278 h 1652"/>
                <a:gd name="T106" fmla="*/ 610 w 1652"/>
                <a:gd name="T107" fmla="*/ 29 h 1652"/>
                <a:gd name="T108" fmla="*/ 378 w 1652"/>
                <a:gd name="T109" fmla="*/ 300 h 1652"/>
                <a:gd name="T110" fmla="*/ 318 w 1652"/>
                <a:gd name="T111" fmla="*/ 769 h 1652"/>
                <a:gd name="T112" fmla="*/ 365 w 1652"/>
                <a:gd name="T113" fmla="*/ 342 h 1652"/>
                <a:gd name="T114" fmla="*/ 0 w 1652"/>
                <a:gd name="T115" fmla="*/ 804 h 1652"/>
                <a:gd name="T116" fmla="*/ 385 w 1652"/>
                <a:gd name="T117" fmla="*/ 1267 h 1652"/>
                <a:gd name="T118" fmla="*/ 282 w 1652"/>
                <a:gd name="T119" fmla="*/ 848 h 1652"/>
                <a:gd name="T120" fmla="*/ 212 w 1652"/>
                <a:gd name="T121" fmla="*/ 1378 h 1652"/>
                <a:gd name="T122" fmla="*/ 385 w 1652"/>
                <a:gd name="T123" fmla="*/ 1267 h 1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52" h="1652">
                  <a:moveTo>
                    <a:pt x="1042" y="29"/>
                  </a:moveTo>
                  <a:cubicBezTo>
                    <a:pt x="1182" y="67"/>
                    <a:pt x="1308" y="141"/>
                    <a:pt x="1408" y="241"/>
                  </a:cubicBezTo>
                  <a:cubicBezTo>
                    <a:pt x="1367" y="263"/>
                    <a:pt x="1321" y="283"/>
                    <a:pt x="1274" y="300"/>
                  </a:cubicBezTo>
                  <a:cubicBezTo>
                    <a:pt x="1262" y="287"/>
                    <a:pt x="1245" y="278"/>
                    <a:pt x="1227" y="278"/>
                  </a:cubicBezTo>
                  <a:cubicBezTo>
                    <a:pt x="1226" y="278"/>
                    <a:pt x="1225" y="278"/>
                    <a:pt x="1225" y="278"/>
                  </a:cubicBezTo>
                  <a:cubicBezTo>
                    <a:pt x="1214" y="254"/>
                    <a:pt x="1202" y="231"/>
                    <a:pt x="1189" y="209"/>
                  </a:cubicBezTo>
                  <a:cubicBezTo>
                    <a:pt x="1146" y="133"/>
                    <a:pt x="1096" y="73"/>
                    <a:pt x="1042" y="29"/>
                  </a:cubicBezTo>
                  <a:close/>
                  <a:moveTo>
                    <a:pt x="882" y="372"/>
                  </a:moveTo>
                  <a:cubicBezTo>
                    <a:pt x="981" y="368"/>
                    <a:pt x="1077" y="355"/>
                    <a:pt x="1166" y="333"/>
                  </a:cubicBezTo>
                  <a:cubicBezTo>
                    <a:pt x="1167" y="318"/>
                    <a:pt x="1174" y="305"/>
                    <a:pt x="1184" y="295"/>
                  </a:cubicBezTo>
                  <a:cubicBezTo>
                    <a:pt x="1174" y="273"/>
                    <a:pt x="1163" y="251"/>
                    <a:pt x="1151" y="231"/>
                  </a:cubicBezTo>
                  <a:cubicBezTo>
                    <a:pt x="1083" y="112"/>
                    <a:pt x="1000" y="34"/>
                    <a:pt x="909" y="4"/>
                  </a:cubicBezTo>
                  <a:cubicBezTo>
                    <a:pt x="889" y="2"/>
                    <a:pt x="869" y="1"/>
                    <a:pt x="848" y="0"/>
                  </a:cubicBezTo>
                  <a:cubicBezTo>
                    <a:pt x="848" y="338"/>
                    <a:pt x="848" y="338"/>
                    <a:pt x="848" y="338"/>
                  </a:cubicBezTo>
                  <a:cubicBezTo>
                    <a:pt x="864" y="344"/>
                    <a:pt x="876" y="356"/>
                    <a:pt x="882" y="372"/>
                  </a:cubicBezTo>
                  <a:close/>
                  <a:moveTo>
                    <a:pt x="804" y="452"/>
                  </a:moveTo>
                  <a:cubicBezTo>
                    <a:pt x="788" y="446"/>
                    <a:pt x="775" y="432"/>
                    <a:pt x="769" y="416"/>
                  </a:cubicBezTo>
                  <a:cubicBezTo>
                    <a:pt x="666" y="412"/>
                    <a:pt x="567" y="398"/>
                    <a:pt x="475" y="375"/>
                  </a:cubicBezTo>
                  <a:cubicBezTo>
                    <a:pt x="464" y="390"/>
                    <a:pt x="446" y="400"/>
                    <a:pt x="427" y="400"/>
                  </a:cubicBezTo>
                  <a:cubicBezTo>
                    <a:pt x="389" y="512"/>
                    <a:pt x="367" y="638"/>
                    <a:pt x="362" y="770"/>
                  </a:cubicBezTo>
                  <a:cubicBezTo>
                    <a:pt x="378" y="776"/>
                    <a:pt x="390" y="788"/>
                    <a:pt x="396" y="804"/>
                  </a:cubicBezTo>
                  <a:cubicBezTo>
                    <a:pt x="769" y="804"/>
                    <a:pt x="769" y="804"/>
                    <a:pt x="769" y="804"/>
                  </a:cubicBezTo>
                  <a:cubicBezTo>
                    <a:pt x="775" y="788"/>
                    <a:pt x="788" y="775"/>
                    <a:pt x="804" y="769"/>
                  </a:cubicBezTo>
                  <a:lnTo>
                    <a:pt x="804" y="452"/>
                  </a:lnTo>
                  <a:close/>
                  <a:moveTo>
                    <a:pt x="1225" y="400"/>
                  </a:moveTo>
                  <a:cubicBezTo>
                    <a:pt x="1206" y="400"/>
                    <a:pt x="1188" y="390"/>
                    <a:pt x="1177" y="375"/>
                  </a:cubicBezTo>
                  <a:cubicBezTo>
                    <a:pt x="1085" y="398"/>
                    <a:pt x="986" y="412"/>
                    <a:pt x="883" y="416"/>
                  </a:cubicBezTo>
                  <a:cubicBezTo>
                    <a:pt x="877" y="432"/>
                    <a:pt x="864" y="446"/>
                    <a:pt x="848" y="452"/>
                  </a:cubicBezTo>
                  <a:cubicBezTo>
                    <a:pt x="848" y="769"/>
                    <a:pt x="848" y="769"/>
                    <a:pt x="848" y="769"/>
                  </a:cubicBezTo>
                  <a:cubicBezTo>
                    <a:pt x="864" y="775"/>
                    <a:pt x="877" y="788"/>
                    <a:pt x="883" y="804"/>
                  </a:cubicBezTo>
                  <a:cubicBezTo>
                    <a:pt x="1256" y="804"/>
                    <a:pt x="1256" y="804"/>
                    <a:pt x="1256" y="804"/>
                  </a:cubicBezTo>
                  <a:cubicBezTo>
                    <a:pt x="1262" y="788"/>
                    <a:pt x="1274" y="776"/>
                    <a:pt x="1290" y="770"/>
                  </a:cubicBezTo>
                  <a:cubicBezTo>
                    <a:pt x="1285" y="638"/>
                    <a:pt x="1263" y="512"/>
                    <a:pt x="1225" y="400"/>
                  </a:cubicBezTo>
                  <a:close/>
                  <a:moveTo>
                    <a:pt x="769" y="848"/>
                  </a:moveTo>
                  <a:cubicBezTo>
                    <a:pt x="396" y="848"/>
                    <a:pt x="396" y="848"/>
                    <a:pt x="396" y="848"/>
                  </a:cubicBezTo>
                  <a:cubicBezTo>
                    <a:pt x="390" y="864"/>
                    <a:pt x="378" y="876"/>
                    <a:pt x="362" y="882"/>
                  </a:cubicBezTo>
                  <a:cubicBezTo>
                    <a:pt x="367" y="1014"/>
                    <a:pt x="389" y="1140"/>
                    <a:pt x="427" y="1252"/>
                  </a:cubicBezTo>
                  <a:cubicBezTo>
                    <a:pt x="446" y="1252"/>
                    <a:pt x="464" y="1262"/>
                    <a:pt x="475" y="1277"/>
                  </a:cubicBezTo>
                  <a:cubicBezTo>
                    <a:pt x="567" y="1254"/>
                    <a:pt x="666" y="1240"/>
                    <a:pt x="769" y="1236"/>
                  </a:cubicBezTo>
                  <a:cubicBezTo>
                    <a:pt x="775" y="1220"/>
                    <a:pt x="788" y="1206"/>
                    <a:pt x="804" y="1200"/>
                  </a:cubicBezTo>
                  <a:cubicBezTo>
                    <a:pt x="804" y="883"/>
                    <a:pt x="804" y="883"/>
                    <a:pt x="804" y="883"/>
                  </a:cubicBezTo>
                  <a:cubicBezTo>
                    <a:pt x="788" y="877"/>
                    <a:pt x="775" y="864"/>
                    <a:pt x="769" y="848"/>
                  </a:cubicBezTo>
                  <a:close/>
                  <a:moveTo>
                    <a:pt x="1151" y="1421"/>
                  </a:moveTo>
                  <a:cubicBezTo>
                    <a:pt x="1163" y="1401"/>
                    <a:pt x="1174" y="1379"/>
                    <a:pt x="1184" y="1357"/>
                  </a:cubicBezTo>
                  <a:cubicBezTo>
                    <a:pt x="1174" y="1347"/>
                    <a:pt x="1167" y="1334"/>
                    <a:pt x="1166" y="1319"/>
                  </a:cubicBezTo>
                  <a:cubicBezTo>
                    <a:pt x="1077" y="1297"/>
                    <a:pt x="981" y="1284"/>
                    <a:pt x="882" y="1280"/>
                  </a:cubicBezTo>
                  <a:cubicBezTo>
                    <a:pt x="876" y="1296"/>
                    <a:pt x="864" y="1308"/>
                    <a:pt x="848" y="1314"/>
                  </a:cubicBezTo>
                  <a:cubicBezTo>
                    <a:pt x="848" y="1652"/>
                    <a:pt x="848" y="1652"/>
                    <a:pt x="848" y="1652"/>
                  </a:cubicBezTo>
                  <a:cubicBezTo>
                    <a:pt x="869" y="1651"/>
                    <a:pt x="889" y="1650"/>
                    <a:pt x="909" y="1648"/>
                  </a:cubicBezTo>
                  <a:cubicBezTo>
                    <a:pt x="1000" y="1618"/>
                    <a:pt x="1083" y="1540"/>
                    <a:pt x="1151" y="1421"/>
                  </a:cubicBezTo>
                  <a:close/>
                  <a:moveTo>
                    <a:pt x="1290" y="882"/>
                  </a:moveTo>
                  <a:cubicBezTo>
                    <a:pt x="1274" y="876"/>
                    <a:pt x="1262" y="864"/>
                    <a:pt x="1256" y="848"/>
                  </a:cubicBezTo>
                  <a:cubicBezTo>
                    <a:pt x="883" y="848"/>
                    <a:pt x="883" y="848"/>
                    <a:pt x="883" y="848"/>
                  </a:cubicBezTo>
                  <a:cubicBezTo>
                    <a:pt x="877" y="864"/>
                    <a:pt x="864" y="877"/>
                    <a:pt x="848" y="883"/>
                  </a:cubicBezTo>
                  <a:cubicBezTo>
                    <a:pt x="848" y="1200"/>
                    <a:pt x="848" y="1200"/>
                    <a:pt x="848" y="1200"/>
                  </a:cubicBezTo>
                  <a:cubicBezTo>
                    <a:pt x="864" y="1206"/>
                    <a:pt x="877" y="1220"/>
                    <a:pt x="883" y="1236"/>
                  </a:cubicBezTo>
                  <a:cubicBezTo>
                    <a:pt x="986" y="1240"/>
                    <a:pt x="1085" y="1254"/>
                    <a:pt x="1177" y="1277"/>
                  </a:cubicBezTo>
                  <a:cubicBezTo>
                    <a:pt x="1188" y="1262"/>
                    <a:pt x="1206" y="1252"/>
                    <a:pt x="1225" y="1252"/>
                  </a:cubicBezTo>
                  <a:cubicBezTo>
                    <a:pt x="1263" y="1140"/>
                    <a:pt x="1285" y="1014"/>
                    <a:pt x="1290" y="882"/>
                  </a:cubicBezTo>
                  <a:close/>
                  <a:moveTo>
                    <a:pt x="1267" y="385"/>
                  </a:moveTo>
                  <a:cubicBezTo>
                    <a:pt x="1306" y="501"/>
                    <a:pt x="1329" y="632"/>
                    <a:pt x="1334" y="769"/>
                  </a:cubicBezTo>
                  <a:cubicBezTo>
                    <a:pt x="1350" y="775"/>
                    <a:pt x="1363" y="788"/>
                    <a:pt x="1370" y="804"/>
                  </a:cubicBezTo>
                  <a:cubicBezTo>
                    <a:pt x="1652" y="804"/>
                    <a:pt x="1652" y="804"/>
                    <a:pt x="1652" y="804"/>
                  </a:cubicBezTo>
                  <a:cubicBezTo>
                    <a:pt x="1646" y="600"/>
                    <a:pt x="1567" y="415"/>
                    <a:pt x="1440" y="274"/>
                  </a:cubicBezTo>
                  <a:cubicBezTo>
                    <a:pt x="1393" y="300"/>
                    <a:pt x="1342" y="323"/>
                    <a:pt x="1287" y="342"/>
                  </a:cubicBezTo>
                  <a:cubicBezTo>
                    <a:pt x="1286" y="359"/>
                    <a:pt x="1279" y="374"/>
                    <a:pt x="1267" y="385"/>
                  </a:cubicBezTo>
                  <a:close/>
                  <a:moveTo>
                    <a:pt x="1274" y="1352"/>
                  </a:moveTo>
                  <a:cubicBezTo>
                    <a:pt x="1262" y="1365"/>
                    <a:pt x="1245" y="1374"/>
                    <a:pt x="1227" y="1374"/>
                  </a:cubicBezTo>
                  <a:cubicBezTo>
                    <a:pt x="1226" y="1374"/>
                    <a:pt x="1225" y="1374"/>
                    <a:pt x="1225" y="1374"/>
                  </a:cubicBezTo>
                  <a:cubicBezTo>
                    <a:pt x="1214" y="1398"/>
                    <a:pt x="1202" y="1421"/>
                    <a:pt x="1189" y="1443"/>
                  </a:cubicBezTo>
                  <a:cubicBezTo>
                    <a:pt x="1146" y="1519"/>
                    <a:pt x="1096" y="1579"/>
                    <a:pt x="1042" y="1623"/>
                  </a:cubicBezTo>
                  <a:cubicBezTo>
                    <a:pt x="1182" y="1585"/>
                    <a:pt x="1308" y="1511"/>
                    <a:pt x="1408" y="1411"/>
                  </a:cubicBezTo>
                  <a:cubicBezTo>
                    <a:pt x="1367" y="1389"/>
                    <a:pt x="1321" y="1369"/>
                    <a:pt x="1274" y="1352"/>
                  </a:cubicBezTo>
                  <a:close/>
                  <a:moveTo>
                    <a:pt x="463" y="1443"/>
                  </a:moveTo>
                  <a:cubicBezTo>
                    <a:pt x="450" y="1421"/>
                    <a:pt x="438" y="1398"/>
                    <a:pt x="427" y="1374"/>
                  </a:cubicBezTo>
                  <a:cubicBezTo>
                    <a:pt x="427" y="1374"/>
                    <a:pt x="426" y="1374"/>
                    <a:pt x="426" y="1374"/>
                  </a:cubicBezTo>
                  <a:cubicBezTo>
                    <a:pt x="407" y="1374"/>
                    <a:pt x="390" y="1365"/>
                    <a:pt x="378" y="1352"/>
                  </a:cubicBezTo>
                  <a:cubicBezTo>
                    <a:pt x="331" y="1369"/>
                    <a:pt x="285" y="1389"/>
                    <a:pt x="244" y="1411"/>
                  </a:cubicBezTo>
                  <a:cubicBezTo>
                    <a:pt x="344" y="1511"/>
                    <a:pt x="470" y="1585"/>
                    <a:pt x="610" y="1623"/>
                  </a:cubicBezTo>
                  <a:cubicBezTo>
                    <a:pt x="556" y="1579"/>
                    <a:pt x="506" y="1519"/>
                    <a:pt x="463" y="1443"/>
                  </a:cubicBezTo>
                  <a:close/>
                  <a:moveTo>
                    <a:pt x="770" y="1280"/>
                  </a:moveTo>
                  <a:cubicBezTo>
                    <a:pt x="671" y="1284"/>
                    <a:pt x="575" y="1297"/>
                    <a:pt x="486" y="1319"/>
                  </a:cubicBezTo>
                  <a:cubicBezTo>
                    <a:pt x="485" y="1334"/>
                    <a:pt x="478" y="1347"/>
                    <a:pt x="468" y="1357"/>
                  </a:cubicBezTo>
                  <a:cubicBezTo>
                    <a:pt x="478" y="1379"/>
                    <a:pt x="489" y="1401"/>
                    <a:pt x="501" y="1421"/>
                  </a:cubicBezTo>
                  <a:cubicBezTo>
                    <a:pt x="569" y="1540"/>
                    <a:pt x="652" y="1618"/>
                    <a:pt x="743" y="1648"/>
                  </a:cubicBezTo>
                  <a:cubicBezTo>
                    <a:pt x="763" y="1650"/>
                    <a:pt x="783" y="1651"/>
                    <a:pt x="804" y="1652"/>
                  </a:cubicBezTo>
                  <a:cubicBezTo>
                    <a:pt x="804" y="1314"/>
                    <a:pt x="804" y="1314"/>
                    <a:pt x="804" y="1314"/>
                  </a:cubicBezTo>
                  <a:cubicBezTo>
                    <a:pt x="788" y="1308"/>
                    <a:pt x="776" y="1296"/>
                    <a:pt x="770" y="1280"/>
                  </a:cubicBezTo>
                  <a:close/>
                  <a:moveTo>
                    <a:pt x="1370" y="848"/>
                  </a:moveTo>
                  <a:cubicBezTo>
                    <a:pt x="1363" y="864"/>
                    <a:pt x="1350" y="877"/>
                    <a:pt x="1334" y="883"/>
                  </a:cubicBezTo>
                  <a:cubicBezTo>
                    <a:pt x="1329" y="1020"/>
                    <a:pt x="1306" y="1151"/>
                    <a:pt x="1267" y="1267"/>
                  </a:cubicBezTo>
                  <a:cubicBezTo>
                    <a:pt x="1279" y="1278"/>
                    <a:pt x="1286" y="1293"/>
                    <a:pt x="1287" y="1310"/>
                  </a:cubicBezTo>
                  <a:cubicBezTo>
                    <a:pt x="1342" y="1329"/>
                    <a:pt x="1393" y="1352"/>
                    <a:pt x="1440" y="1378"/>
                  </a:cubicBezTo>
                  <a:cubicBezTo>
                    <a:pt x="1567" y="1237"/>
                    <a:pt x="1646" y="1052"/>
                    <a:pt x="1652" y="848"/>
                  </a:cubicBezTo>
                  <a:lnTo>
                    <a:pt x="1370" y="848"/>
                  </a:lnTo>
                  <a:close/>
                  <a:moveTo>
                    <a:pt x="804" y="0"/>
                  </a:moveTo>
                  <a:cubicBezTo>
                    <a:pt x="783" y="1"/>
                    <a:pt x="763" y="2"/>
                    <a:pt x="743" y="4"/>
                  </a:cubicBezTo>
                  <a:cubicBezTo>
                    <a:pt x="652" y="34"/>
                    <a:pt x="569" y="112"/>
                    <a:pt x="501" y="231"/>
                  </a:cubicBezTo>
                  <a:cubicBezTo>
                    <a:pt x="489" y="251"/>
                    <a:pt x="478" y="273"/>
                    <a:pt x="468" y="295"/>
                  </a:cubicBezTo>
                  <a:cubicBezTo>
                    <a:pt x="478" y="305"/>
                    <a:pt x="485" y="318"/>
                    <a:pt x="486" y="333"/>
                  </a:cubicBezTo>
                  <a:cubicBezTo>
                    <a:pt x="575" y="355"/>
                    <a:pt x="671" y="368"/>
                    <a:pt x="770" y="372"/>
                  </a:cubicBezTo>
                  <a:cubicBezTo>
                    <a:pt x="776" y="356"/>
                    <a:pt x="788" y="344"/>
                    <a:pt x="804" y="338"/>
                  </a:cubicBezTo>
                  <a:lnTo>
                    <a:pt x="804" y="0"/>
                  </a:lnTo>
                  <a:close/>
                  <a:moveTo>
                    <a:pt x="378" y="300"/>
                  </a:moveTo>
                  <a:cubicBezTo>
                    <a:pt x="390" y="287"/>
                    <a:pt x="407" y="278"/>
                    <a:pt x="426" y="278"/>
                  </a:cubicBezTo>
                  <a:cubicBezTo>
                    <a:pt x="426" y="278"/>
                    <a:pt x="427" y="278"/>
                    <a:pt x="427" y="278"/>
                  </a:cubicBezTo>
                  <a:cubicBezTo>
                    <a:pt x="438" y="254"/>
                    <a:pt x="450" y="231"/>
                    <a:pt x="463" y="209"/>
                  </a:cubicBezTo>
                  <a:cubicBezTo>
                    <a:pt x="506" y="133"/>
                    <a:pt x="556" y="73"/>
                    <a:pt x="610" y="29"/>
                  </a:cubicBezTo>
                  <a:cubicBezTo>
                    <a:pt x="470" y="67"/>
                    <a:pt x="344" y="141"/>
                    <a:pt x="244" y="241"/>
                  </a:cubicBezTo>
                  <a:cubicBezTo>
                    <a:pt x="285" y="263"/>
                    <a:pt x="331" y="283"/>
                    <a:pt x="378" y="300"/>
                  </a:cubicBezTo>
                  <a:close/>
                  <a:moveTo>
                    <a:pt x="282" y="804"/>
                  </a:moveTo>
                  <a:cubicBezTo>
                    <a:pt x="289" y="788"/>
                    <a:pt x="302" y="775"/>
                    <a:pt x="318" y="769"/>
                  </a:cubicBezTo>
                  <a:cubicBezTo>
                    <a:pt x="323" y="632"/>
                    <a:pt x="346" y="501"/>
                    <a:pt x="385" y="385"/>
                  </a:cubicBezTo>
                  <a:cubicBezTo>
                    <a:pt x="373" y="374"/>
                    <a:pt x="366" y="359"/>
                    <a:pt x="365" y="342"/>
                  </a:cubicBezTo>
                  <a:cubicBezTo>
                    <a:pt x="310" y="323"/>
                    <a:pt x="259" y="300"/>
                    <a:pt x="212" y="274"/>
                  </a:cubicBezTo>
                  <a:cubicBezTo>
                    <a:pt x="85" y="415"/>
                    <a:pt x="6" y="600"/>
                    <a:pt x="0" y="804"/>
                  </a:cubicBezTo>
                  <a:lnTo>
                    <a:pt x="282" y="804"/>
                  </a:lnTo>
                  <a:close/>
                  <a:moveTo>
                    <a:pt x="385" y="1267"/>
                  </a:moveTo>
                  <a:cubicBezTo>
                    <a:pt x="346" y="1151"/>
                    <a:pt x="323" y="1020"/>
                    <a:pt x="318" y="883"/>
                  </a:cubicBezTo>
                  <a:cubicBezTo>
                    <a:pt x="302" y="877"/>
                    <a:pt x="289" y="864"/>
                    <a:pt x="282" y="848"/>
                  </a:cubicBezTo>
                  <a:cubicBezTo>
                    <a:pt x="0" y="848"/>
                    <a:pt x="0" y="848"/>
                    <a:pt x="0" y="848"/>
                  </a:cubicBezTo>
                  <a:cubicBezTo>
                    <a:pt x="6" y="1052"/>
                    <a:pt x="85" y="1237"/>
                    <a:pt x="212" y="1378"/>
                  </a:cubicBezTo>
                  <a:cubicBezTo>
                    <a:pt x="259" y="1352"/>
                    <a:pt x="310" y="1329"/>
                    <a:pt x="365" y="1310"/>
                  </a:cubicBezTo>
                  <a:cubicBezTo>
                    <a:pt x="366" y="1293"/>
                    <a:pt x="373" y="1278"/>
                    <a:pt x="385" y="12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AU"/>
            </a:p>
          </p:txBody>
        </p:sp>
      </p:grp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B011AB56-5283-9A92-412B-0B89F4F48D35}"/>
              </a:ext>
            </a:extLst>
          </p:cNvPr>
          <p:cNvSpPr txBox="1">
            <a:spLocks/>
          </p:cNvSpPr>
          <p:nvPr/>
        </p:nvSpPr>
        <p:spPr>
          <a:xfrm>
            <a:off x="316992" y="4840314"/>
            <a:ext cx="7829538" cy="28851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  <a:sym typeface="Trebuchet MS" panose="020B0603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pl-PL" sz="1100">
                <a:cs typeface="Arial"/>
              </a:rPr>
              <a:t>◻︎ </a:t>
            </a:r>
            <a:r>
              <a:rPr lang="pl-PL" sz="1100">
                <a:solidFill>
                  <a:schemeClr val="tx1"/>
                </a:solidFill>
                <a:latin typeface="Arial"/>
                <a:cs typeface="Arial"/>
              </a:rPr>
              <a:t>Web Application</a:t>
            </a:r>
            <a:r>
              <a:rPr lang="de-DE" sz="1100">
                <a:solidFill>
                  <a:schemeClr val="tx1"/>
                </a:solidFill>
                <a:latin typeface="Arial"/>
                <a:cs typeface="Arial"/>
              </a:rPr>
              <a:t> |</a:t>
            </a:r>
            <a:r>
              <a:rPr lang="pl-PL" sz="110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pl-PL" sz="1100">
                <a:cs typeface="Arial"/>
              </a:rPr>
              <a:t>◻︎</a:t>
            </a:r>
            <a:r>
              <a:rPr lang="pl-PL" sz="110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pl-PL" sz="1100" err="1">
                <a:solidFill>
                  <a:schemeClr val="tx1"/>
                </a:solidFill>
                <a:latin typeface="Arial"/>
                <a:cs typeface="Arial"/>
              </a:rPr>
              <a:t>Pre</a:t>
            </a:r>
            <a:r>
              <a:rPr lang="de-DE" sz="1100">
                <a:solidFill>
                  <a:schemeClr val="tx1"/>
                </a:solidFill>
                <a:latin typeface="Arial"/>
                <a:cs typeface="Arial"/>
              </a:rPr>
              <a:t>-</a:t>
            </a:r>
            <a:r>
              <a:rPr lang="pl-PL" sz="1100" err="1">
                <a:solidFill>
                  <a:schemeClr val="tx1"/>
                </a:solidFill>
                <a:latin typeface="Arial"/>
                <a:cs typeface="Arial"/>
              </a:rPr>
              <a:t>processing</a:t>
            </a:r>
            <a:r>
              <a:rPr lang="pl-PL" sz="110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pl-PL" sz="1100" b="1">
                <a:solidFill>
                  <a:schemeClr val="tx1"/>
                </a:solidFill>
                <a:latin typeface="Arial"/>
                <a:cs typeface="Arial"/>
              </a:rPr>
              <a:t>|</a:t>
            </a:r>
            <a:r>
              <a:rPr lang="pl-PL" sz="1100">
                <a:solidFill>
                  <a:schemeClr val="tx1"/>
                </a:solidFill>
                <a:latin typeface="Arial"/>
                <a:cs typeface="Arial"/>
              </a:rPr>
              <a:t> ︎︎ </a:t>
            </a:r>
            <a:r>
              <a:rPr lang="de-DE" sz="1100">
                <a:solidFill>
                  <a:schemeClr val="tx1"/>
                </a:solidFill>
                <a:latin typeface="Arial"/>
                <a:cs typeface="Arial"/>
              </a:rPr>
              <a:t>Modeling</a:t>
            </a:r>
            <a:r>
              <a:rPr lang="pl-PL" sz="110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pl-PL" sz="1100" b="1">
                <a:solidFill>
                  <a:schemeClr val="tx1"/>
                </a:solidFill>
                <a:latin typeface="Arial"/>
                <a:cs typeface="Arial"/>
              </a:rPr>
              <a:t>|</a:t>
            </a:r>
            <a:r>
              <a:rPr lang="pl-PL" sz="1100">
                <a:solidFill>
                  <a:schemeClr val="tx1"/>
                </a:solidFill>
                <a:latin typeface="Arial"/>
                <a:cs typeface="Arial"/>
              </a:rPr>
              <a:t> ︎︎ </a:t>
            </a:r>
            <a:r>
              <a:rPr lang="de-DE" sz="1100">
                <a:solidFill>
                  <a:schemeClr val="tx1"/>
                </a:solidFill>
                <a:latin typeface="Arial"/>
                <a:cs typeface="Arial"/>
              </a:rPr>
              <a:t>Challenges </a:t>
            </a:r>
            <a:r>
              <a:rPr lang="pl-PL" sz="1100" b="1">
                <a:solidFill>
                  <a:schemeClr val="tx1"/>
                </a:solidFill>
                <a:latin typeface="Arial"/>
                <a:cs typeface="Arial"/>
              </a:rPr>
              <a:t>| </a:t>
            </a:r>
            <a:r>
              <a:rPr lang="pl-PL" sz="1100">
                <a:solidFill>
                  <a:schemeClr val="tx1"/>
                </a:solidFill>
                <a:latin typeface="Arial"/>
                <a:cs typeface="Arial"/>
              </a:rPr>
              <a:t>◼︎ </a:t>
            </a:r>
            <a:r>
              <a:rPr lang="en-GB" sz="1100" b="1">
                <a:solidFill>
                  <a:schemeClr val="tx1"/>
                </a:solidFill>
                <a:latin typeface="Arial"/>
                <a:cs typeface="Arial"/>
              </a:rPr>
              <a:t>Next steps</a:t>
            </a:r>
            <a:endParaRPr lang="en-GB" sz="11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991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82575"/>
            <a:ext cx="7891463" cy="381000"/>
          </a:xfrm>
          <a:prstGeom prst="rect">
            <a:avLst/>
          </a:prstGeom>
        </p:spPr>
        <p:txBody>
          <a:bodyPr vert="horz" lIns="91440" tIns="45720" rIns="91440" bIns="45720" anchor="t"/>
          <a:lstStyle/>
          <a:p>
            <a:r>
              <a:rPr lang="en-GB" sz="2500">
                <a:cs typeface="Arial"/>
              </a:rPr>
              <a:t>First mock-up of our web application </a:t>
            </a:r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D32AC83D-7D30-AEBF-EBCA-98ACF8957D3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12033" y="4827036"/>
            <a:ext cx="7829550" cy="28892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◼︎ </a:t>
            </a:r>
            <a:r>
              <a:rPr lang="pl-PL" b="1">
                <a:latin typeface="Arial"/>
                <a:cs typeface="Arial"/>
              </a:rPr>
              <a:t>Web Application</a:t>
            </a:r>
            <a:r>
              <a:rPr lang="de-DE" b="1">
                <a:latin typeface="Arial"/>
                <a:cs typeface="Arial"/>
              </a:rPr>
              <a:t> </a:t>
            </a:r>
            <a:r>
              <a:rPr lang="de-DE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◻︎ 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>
                <a:latin typeface="Arial"/>
                <a:cs typeface="Arial"/>
              </a:rPr>
              <a:t>processing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◻︎ </a:t>
            </a:r>
            <a:r>
              <a:rPr lang="de-DE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1324" y="4569473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925E60C7-7F09-1FCC-9A92-9D147BD2E239}"/>
              </a:ext>
            </a:extLst>
          </p:cNvPr>
          <p:cNvGrpSpPr/>
          <p:nvPr/>
        </p:nvGrpSpPr>
        <p:grpSpPr>
          <a:xfrm>
            <a:off x="151976" y="1015135"/>
            <a:ext cx="6230163" cy="2867172"/>
            <a:chOff x="99111" y="800035"/>
            <a:chExt cx="9004123" cy="3811250"/>
          </a:xfrm>
        </p:grpSpPr>
        <p:pic>
          <p:nvPicPr>
            <p:cNvPr id="2" name="Grafik 4" descr="Ein Bild, das Text enthält.&#10;&#10;Beschreibung automatisch generiert.">
              <a:extLst>
                <a:ext uri="{FF2B5EF4-FFF2-40B4-BE49-F238E27FC236}">
                  <a16:creationId xmlns:a16="http://schemas.microsoft.com/office/drawing/2014/main" id="{CDE4A473-308F-B1F5-8BB2-B636F957BE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655" r="109" b="-262"/>
            <a:stretch/>
          </p:blipFill>
          <p:spPr>
            <a:xfrm>
              <a:off x="99111" y="800035"/>
              <a:ext cx="8950926" cy="3779930"/>
            </a:xfrm>
            <a:prstGeom prst="rect">
              <a:avLst/>
            </a:prstGeom>
          </p:spPr>
        </p:pic>
        <p:pic>
          <p:nvPicPr>
            <p:cNvPr id="5" name="Grafik 5">
              <a:extLst>
                <a:ext uri="{FF2B5EF4-FFF2-40B4-BE49-F238E27FC236}">
                  <a16:creationId xmlns:a16="http://schemas.microsoft.com/office/drawing/2014/main" id="{E186353C-5F1A-2473-EBAF-1513520D6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242800" y="2010431"/>
              <a:ext cx="3154210" cy="2600854"/>
            </a:xfrm>
            <a:prstGeom prst="rect">
              <a:avLst/>
            </a:prstGeom>
          </p:spPr>
        </p:pic>
        <p:pic>
          <p:nvPicPr>
            <p:cNvPr id="6" name="Grafik 8">
              <a:extLst>
                <a:ext uri="{FF2B5EF4-FFF2-40B4-BE49-F238E27FC236}">
                  <a16:creationId xmlns:a16="http://schemas.microsoft.com/office/drawing/2014/main" id="{A5FAD822-AE85-F306-4555-60BA23B1E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402538" y="1980365"/>
              <a:ext cx="2700696" cy="2543942"/>
            </a:xfrm>
            <a:prstGeom prst="rect">
              <a:avLst/>
            </a:prstGeom>
          </p:spPr>
        </p:pic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36C57336-0122-A2FD-5412-45AF5EEC5BD1}"/>
              </a:ext>
            </a:extLst>
          </p:cNvPr>
          <p:cNvSpPr txBox="1"/>
          <p:nvPr/>
        </p:nvSpPr>
        <p:spPr>
          <a:xfrm>
            <a:off x="6559935" y="1083931"/>
            <a:ext cx="1368965" cy="608115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>
              <a:lnSpc>
                <a:spcPct val="113999"/>
              </a:lnSpc>
            </a:pPr>
            <a:r>
              <a:rPr lang="en-US" sz="2000" b="1">
                <a:latin typeface="Arial"/>
                <a:cs typeface="Arial"/>
              </a:rPr>
              <a:t>Challenges</a:t>
            </a:r>
            <a:endParaRPr lang="en-US" sz="2000">
              <a:latin typeface="Arial"/>
              <a:ea typeface="+mn-lt"/>
              <a:cs typeface="+mn-lt"/>
            </a:endParaRPr>
          </a:p>
          <a:p>
            <a:pPr>
              <a:lnSpc>
                <a:spcPct val="114000"/>
              </a:lnSpc>
            </a:pPr>
            <a:endParaRPr lang="en-US" sz="1600" err="1">
              <a:latin typeface="+mn-lt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F9DC545-575E-B059-66C5-E0887660DA1E}"/>
              </a:ext>
            </a:extLst>
          </p:cNvPr>
          <p:cNvSpPr txBox="1"/>
          <p:nvPr/>
        </p:nvSpPr>
        <p:spPr>
          <a:xfrm>
            <a:off x="7015191" y="1603000"/>
            <a:ext cx="202616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>
                <a:cs typeface="Arial"/>
              </a:rPr>
              <a:t>Integrating</a:t>
            </a:r>
            <a:r>
              <a:rPr lang="en-GB" sz="1400">
                <a:cs typeface="Arial"/>
              </a:rPr>
              <a:t> our model</a:t>
            </a:r>
            <a:r>
              <a:rPr lang="en-GB" sz="1400" b="1">
                <a:cs typeface="Arial"/>
              </a:rPr>
              <a:t> smoothly</a:t>
            </a:r>
            <a:r>
              <a:rPr lang="en-GB" sz="1400">
                <a:cs typeface="Arial"/>
              </a:rPr>
              <a:t> to our web app</a:t>
            </a:r>
            <a:endParaRPr lang="de-DE" sz="1400">
              <a:ea typeface="+mn-lt"/>
              <a:cs typeface="+mn-lt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72EB787-CD45-96FD-CB4B-A63F1AC92993}"/>
              </a:ext>
            </a:extLst>
          </p:cNvPr>
          <p:cNvSpPr txBox="1"/>
          <p:nvPr/>
        </p:nvSpPr>
        <p:spPr>
          <a:xfrm>
            <a:off x="7015191" y="2428130"/>
            <a:ext cx="202616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ea typeface="+mn-lt"/>
                <a:cs typeface="+mn-lt"/>
              </a:rPr>
              <a:t>Creating </a:t>
            </a:r>
            <a:r>
              <a:rPr lang="en-GB" sz="1400" b="1">
                <a:ea typeface="+mn-lt"/>
                <a:cs typeface="+mn-lt"/>
              </a:rPr>
              <a:t>meaningful </a:t>
            </a:r>
          </a:p>
          <a:p>
            <a:r>
              <a:rPr lang="en-GB" sz="1400">
                <a:ea typeface="+mn-lt"/>
                <a:cs typeface="+mn-lt"/>
              </a:rPr>
              <a:t>visualisations </a:t>
            </a:r>
            <a:endParaRPr lang="en-GB" sz="140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B5A89DD-CDA3-8734-10D6-77801CFA04F8}"/>
              </a:ext>
            </a:extLst>
          </p:cNvPr>
          <p:cNvSpPr txBox="1"/>
          <p:nvPr/>
        </p:nvSpPr>
        <p:spPr>
          <a:xfrm>
            <a:off x="7015191" y="3253260"/>
            <a:ext cx="202616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>
                <a:ea typeface="+mn-lt"/>
                <a:cs typeface="+mn-lt"/>
              </a:rPr>
              <a:t>Ensuring a </a:t>
            </a:r>
            <a:r>
              <a:rPr lang="en-GB" sz="1400" b="1">
                <a:ea typeface="+mn-lt"/>
                <a:cs typeface="+mn-lt"/>
              </a:rPr>
              <a:t>fast</a:t>
            </a:r>
            <a:r>
              <a:rPr lang="en-GB" sz="1400">
                <a:ea typeface="+mn-lt"/>
                <a:cs typeface="+mn-lt"/>
              </a:rPr>
              <a:t> and </a:t>
            </a:r>
            <a:r>
              <a:rPr lang="en-GB" sz="1400" b="1">
                <a:ea typeface="+mn-lt"/>
                <a:cs typeface="+mn-lt"/>
              </a:rPr>
              <a:t>responsive</a:t>
            </a:r>
            <a:r>
              <a:rPr lang="en-GB" sz="1400">
                <a:ea typeface="+mn-lt"/>
                <a:cs typeface="+mn-lt"/>
              </a:rPr>
              <a:t> web app</a:t>
            </a:r>
            <a:endParaRPr lang="de-DE" sz="1400">
              <a:ea typeface="+mn-lt"/>
              <a:cs typeface="+mn-lt"/>
            </a:endParaRPr>
          </a:p>
        </p:txBody>
      </p:sp>
      <p:grpSp>
        <p:nvGrpSpPr>
          <p:cNvPr id="18" name="Group 35">
            <a:extLst>
              <a:ext uri="{FF2B5EF4-FFF2-40B4-BE49-F238E27FC236}">
                <a16:creationId xmlns:a16="http://schemas.microsoft.com/office/drawing/2014/main" id="{C1BAF0A6-1140-E5A9-2C36-739F07512486}"/>
              </a:ext>
            </a:extLst>
          </p:cNvPr>
          <p:cNvGrpSpPr>
            <a:grpSpLocks noChangeAspect="1"/>
          </p:cNvGrpSpPr>
          <p:nvPr/>
        </p:nvGrpSpPr>
        <p:grpSpPr>
          <a:xfrm>
            <a:off x="6470857" y="1564681"/>
            <a:ext cx="507526" cy="507526"/>
            <a:chOff x="1983582" y="2081213"/>
            <a:chExt cx="1646238" cy="1646237"/>
          </a:xfrm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7BE4340E-D118-E30D-CBD3-5F0C5E227D7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83582" y="2081213"/>
              <a:ext cx="1646238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75757"/>
                </a:solidFill>
              </a:endParaRPr>
            </a:p>
          </p:txBody>
        </p:sp>
        <p:grpSp>
          <p:nvGrpSpPr>
            <p:cNvPr id="20" name="Group 37">
              <a:extLst>
                <a:ext uri="{FF2B5EF4-FFF2-40B4-BE49-F238E27FC236}">
                  <a16:creationId xmlns:a16="http://schemas.microsoft.com/office/drawing/2014/main" id="{1DB7AC3F-6F8D-FFD4-2D84-16556DBE38F6}"/>
                </a:ext>
              </a:extLst>
            </p:cNvPr>
            <p:cNvGrpSpPr/>
            <p:nvPr/>
          </p:nvGrpSpPr>
          <p:grpSpPr>
            <a:xfrm>
              <a:off x="2137570" y="2235200"/>
              <a:ext cx="1336675" cy="1336675"/>
              <a:chOff x="2137570" y="2235200"/>
              <a:chExt cx="1336675" cy="1336675"/>
            </a:xfrm>
          </p:grpSpPr>
          <p:sp>
            <p:nvSpPr>
              <p:cNvPr id="21" name="Freeform 92">
                <a:extLst>
                  <a:ext uri="{FF2B5EF4-FFF2-40B4-BE49-F238E27FC236}">
                    <a16:creationId xmlns:a16="http://schemas.microsoft.com/office/drawing/2014/main" id="{70538D87-645E-AE27-90A8-607FF9F75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5032" y="2913063"/>
                <a:ext cx="665163" cy="631825"/>
              </a:xfrm>
              <a:custGeom>
                <a:avLst/>
                <a:gdLst>
                  <a:gd name="T0" fmla="*/ 906 w 932"/>
                  <a:gd name="T1" fmla="*/ 0 h 884"/>
                  <a:gd name="T2" fmla="*/ 27 w 932"/>
                  <a:gd name="T3" fmla="*/ 0 h 884"/>
                  <a:gd name="T4" fmla="*/ 20 w 932"/>
                  <a:gd name="T5" fmla="*/ 1 h 884"/>
                  <a:gd name="T6" fmla="*/ 15 w 932"/>
                  <a:gd name="T7" fmla="*/ 3 h 884"/>
                  <a:gd name="T8" fmla="*/ 0 w 932"/>
                  <a:gd name="T9" fmla="*/ 26 h 884"/>
                  <a:gd name="T10" fmla="*/ 0 w 932"/>
                  <a:gd name="T11" fmla="*/ 859 h 884"/>
                  <a:gd name="T12" fmla="*/ 27 w 932"/>
                  <a:gd name="T13" fmla="*/ 884 h 884"/>
                  <a:gd name="T14" fmla="*/ 906 w 932"/>
                  <a:gd name="T15" fmla="*/ 884 h 884"/>
                  <a:gd name="T16" fmla="*/ 919 w 932"/>
                  <a:gd name="T17" fmla="*/ 880 h 884"/>
                  <a:gd name="T18" fmla="*/ 921 w 932"/>
                  <a:gd name="T19" fmla="*/ 879 h 884"/>
                  <a:gd name="T20" fmla="*/ 932 w 932"/>
                  <a:gd name="T21" fmla="*/ 859 h 884"/>
                  <a:gd name="T22" fmla="*/ 932 w 932"/>
                  <a:gd name="T23" fmla="*/ 26 h 884"/>
                  <a:gd name="T24" fmla="*/ 906 w 932"/>
                  <a:gd name="T25" fmla="*/ 0 h 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2" h="884">
                    <a:moveTo>
                      <a:pt x="906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25" y="0"/>
                      <a:pt x="22" y="1"/>
                      <a:pt x="20" y="1"/>
                    </a:cubicBezTo>
                    <a:cubicBezTo>
                      <a:pt x="18" y="2"/>
                      <a:pt x="17" y="3"/>
                      <a:pt x="15" y="3"/>
                    </a:cubicBezTo>
                    <a:cubicBezTo>
                      <a:pt x="7" y="7"/>
                      <a:pt x="0" y="16"/>
                      <a:pt x="0" y="26"/>
                    </a:cubicBezTo>
                    <a:cubicBezTo>
                      <a:pt x="0" y="859"/>
                      <a:pt x="0" y="859"/>
                      <a:pt x="0" y="859"/>
                    </a:cubicBezTo>
                    <a:cubicBezTo>
                      <a:pt x="0" y="873"/>
                      <a:pt x="12" y="884"/>
                      <a:pt x="27" y="884"/>
                    </a:cubicBezTo>
                    <a:cubicBezTo>
                      <a:pt x="906" y="884"/>
                      <a:pt x="906" y="884"/>
                      <a:pt x="906" y="884"/>
                    </a:cubicBezTo>
                    <a:cubicBezTo>
                      <a:pt x="911" y="884"/>
                      <a:pt x="915" y="883"/>
                      <a:pt x="919" y="880"/>
                    </a:cubicBezTo>
                    <a:cubicBezTo>
                      <a:pt x="920" y="880"/>
                      <a:pt x="921" y="880"/>
                      <a:pt x="921" y="879"/>
                    </a:cubicBezTo>
                    <a:cubicBezTo>
                      <a:pt x="928" y="875"/>
                      <a:pt x="932" y="867"/>
                      <a:pt x="932" y="859"/>
                    </a:cubicBezTo>
                    <a:cubicBezTo>
                      <a:pt x="932" y="26"/>
                      <a:pt x="932" y="26"/>
                      <a:pt x="932" y="26"/>
                    </a:cubicBezTo>
                    <a:cubicBezTo>
                      <a:pt x="932" y="12"/>
                      <a:pt x="920" y="0"/>
                      <a:pt x="90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22" name="Freeform 93">
                <a:extLst>
                  <a:ext uri="{FF2B5EF4-FFF2-40B4-BE49-F238E27FC236}">
                    <a16:creationId xmlns:a16="http://schemas.microsoft.com/office/drawing/2014/main" id="{07EFE4B1-897F-92EF-54B3-A6770D5F2F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37570" y="2235200"/>
                <a:ext cx="1336675" cy="1336675"/>
              </a:xfrm>
              <a:custGeom>
                <a:avLst/>
                <a:gdLst>
                  <a:gd name="T0" fmla="*/ 1872 w 1872"/>
                  <a:gd name="T1" fmla="*/ 44 h 1872"/>
                  <a:gd name="T2" fmla="*/ 1872 w 1872"/>
                  <a:gd name="T3" fmla="*/ 1828 h 1872"/>
                  <a:gd name="T4" fmla="*/ 1828 w 1872"/>
                  <a:gd name="T5" fmla="*/ 1872 h 1872"/>
                  <a:gd name="T6" fmla="*/ 957 w 1872"/>
                  <a:gd name="T7" fmla="*/ 1872 h 1872"/>
                  <a:gd name="T8" fmla="*/ 966 w 1872"/>
                  <a:gd name="T9" fmla="*/ 1867 h 1872"/>
                  <a:gd name="T10" fmla="*/ 997 w 1872"/>
                  <a:gd name="T11" fmla="*/ 1828 h 1872"/>
                  <a:gd name="T12" fmla="*/ 1828 w 1872"/>
                  <a:gd name="T13" fmla="*/ 1828 h 1872"/>
                  <a:gd name="T14" fmla="*/ 1828 w 1872"/>
                  <a:gd name="T15" fmla="*/ 44 h 1872"/>
                  <a:gd name="T16" fmla="*/ 44 w 1872"/>
                  <a:gd name="T17" fmla="*/ 44 h 1872"/>
                  <a:gd name="T18" fmla="*/ 44 w 1872"/>
                  <a:gd name="T19" fmla="*/ 906 h 1872"/>
                  <a:gd name="T20" fmla="*/ 19 w 1872"/>
                  <a:gd name="T21" fmla="*/ 913 h 1872"/>
                  <a:gd name="T22" fmla="*/ 0 w 1872"/>
                  <a:gd name="T23" fmla="*/ 927 h 1872"/>
                  <a:gd name="T24" fmla="*/ 0 w 1872"/>
                  <a:gd name="T25" fmla="*/ 44 h 1872"/>
                  <a:gd name="T26" fmla="*/ 44 w 1872"/>
                  <a:gd name="T27" fmla="*/ 0 h 1872"/>
                  <a:gd name="T28" fmla="*/ 1828 w 1872"/>
                  <a:gd name="T29" fmla="*/ 0 h 1872"/>
                  <a:gd name="T30" fmla="*/ 1872 w 1872"/>
                  <a:gd name="T31" fmla="*/ 44 h 1872"/>
                  <a:gd name="T32" fmla="*/ 1273 w 1872"/>
                  <a:gd name="T33" fmla="*/ 241 h 1872"/>
                  <a:gd name="T34" fmla="*/ 1272 w 1872"/>
                  <a:gd name="T35" fmla="*/ 241 h 1872"/>
                  <a:gd name="T36" fmla="*/ 1271 w 1872"/>
                  <a:gd name="T37" fmla="*/ 241 h 1872"/>
                  <a:gd name="T38" fmla="*/ 1249 w 1872"/>
                  <a:gd name="T39" fmla="*/ 263 h 1872"/>
                  <a:gd name="T40" fmla="*/ 1249 w 1872"/>
                  <a:gd name="T41" fmla="*/ 593 h 1872"/>
                  <a:gd name="T42" fmla="*/ 1249 w 1872"/>
                  <a:gd name="T43" fmla="*/ 593 h 1872"/>
                  <a:gd name="T44" fmla="*/ 1249 w 1872"/>
                  <a:gd name="T45" fmla="*/ 593 h 1872"/>
                  <a:gd name="T46" fmla="*/ 1249 w 1872"/>
                  <a:gd name="T47" fmla="*/ 593 h 1872"/>
                  <a:gd name="T48" fmla="*/ 1250 w 1872"/>
                  <a:gd name="T49" fmla="*/ 597 h 1872"/>
                  <a:gd name="T50" fmla="*/ 1250 w 1872"/>
                  <a:gd name="T51" fmla="*/ 598 h 1872"/>
                  <a:gd name="T52" fmla="*/ 1251 w 1872"/>
                  <a:gd name="T53" fmla="*/ 601 h 1872"/>
                  <a:gd name="T54" fmla="*/ 1251 w 1872"/>
                  <a:gd name="T55" fmla="*/ 602 h 1872"/>
                  <a:gd name="T56" fmla="*/ 1253 w 1872"/>
                  <a:gd name="T57" fmla="*/ 605 h 1872"/>
                  <a:gd name="T58" fmla="*/ 1253 w 1872"/>
                  <a:gd name="T59" fmla="*/ 606 h 1872"/>
                  <a:gd name="T60" fmla="*/ 1256 w 1872"/>
                  <a:gd name="T61" fmla="*/ 609 h 1872"/>
                  <a:gd name="T62" fmla="*/ 1256 w 1872"/>
                  <a:gd name="T63" fmla="*/ 609 h 1872"/>
                  <a:gd name="T64" fmla="*/ 1256 w 1872"/>
                  <a:gd name="T65" fmla="*/ 609 h 1872"/>
                  <a:gd name="T66" fmla="*/ 1259 w 1872"/>
                  <a:gd name="T67" fmla="*/ 612 h 1872"/>
                  <a:gd name="T68" fmla="*/ 1260 w 1872"/>
                  <a:gd name="T69" fmla="*/ 612 h 1872"/>
                  <a:gd name="T70" fmla="*/ 1263 w 1872"/>
                  <a:gd name="T71" fmla="*/ 614 h 1872"/>
                  <a:gd name="T72" fmla="*/ 1263 w 1872"/>
                  <a:gd name="T73" fmla="*/ 614 h 1872"/>
                  <a:gd name="T74" fmla="*/ 1267 w 1872"/>
                  <a:gd name="T75" fmla="*/ 615 h 1872"/>
                  <a:gd name="T76" fmla="*/ 1267 w 1872"/>
                  <a:gd name="T77" fmla="*/ 615 h 1872"/>
                  <a:gd name="T78" fmla="*/ 1271 w 1872"/>
                  <a:gd name="T79" fmla="*/ 615 h 1872"/>
                  <a:gd name="T80" fmla="*/ 1273 w 1872"/>
                  <a:gd name="T81" fmla="*/ 615 h 1872"/>
                  <a:gd name="T82" fmla="*/ 1600 w 1872"/>
                  <a:gd name="T83" fmla="*/ 615 h 1872"/>
                  <a:gd name="T84" fmla="*/ 1601 w 1872"/>
                  <a:gd name="T85" fmla="*/ 615 h 1872"/>
                  <a:gd name="T86" fmla="*/ 1623 w 1872"/>
                  <a:gd name="T87" fmla="*/ 593 h 1872"/>
                  <a:gd name="T88" fmla="*/ 1601 w 1872"/>
                  <a:gd name="T89" fmla="*/ 571 h 1872"/>
                  <a:gd name="T90" fmla="*/ 1600 w 1872"/>
                  <a:gd name="T91" fmla="*/ 571 h 1872"/>
                  <a:gd name="T92" fmla="*/ 1327 w 1872"/>
                  <a:gd name="T93" fmla="*/ 571 h 1872"/>
                  <a:gd name="T94" fmla="*/ 1720 w 1872"/>
                  <a:gd name="T95" fmla="*/ 183 h 1872"/>
                  <a:gd name="T96" fmla="*/ 1720 w 1872"/>
                  <a:gd name="T97" fmla="*/ 152 h 1872"/>
                  <a:gd name="T98" fmla="*/ 1704 w 1872"/>
                  <a:gd name="T99" fmla="*/ 146 h 1872"/>
                  <a:gd name="T100" fmla="*/ 1688 w 1872"/>
                  <a:gd name="T101" fmla="*/ 152 h 1872"/>
                  <a:gd name="T102" fmla="*/ 1295 w 1872"/>
                  <a:gd name="T103" fmla="*/ 539 h 1872"/>
                  <a:gd name="T104" fmla="*/ 1295 w 1872"/>
                  <a:gd name="T105" fmla="*/ 263 h 1872"/>
                  <a:gd name="T106" fmla="*/ 1273 w 1872"/>
                  <a:gd name="T107" fmla="*/ 241 h 1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872" h="1872">
                    <a:moveTo>
                      <a:pt x="1872" y="44"/>
                    </a:moveTo>
                    <a:cubicBezTo>
                      <a:pt x="1872" y="1828"/>
                      <a:pt x="1872" y="1828"/>
                      <a:pt x="1872" y="1828"/>
                    </a:cubicBezTo>
                    <a:cubicBezTo>
                      <a:pt x="1872" y="1852"/>
                      <a:pt x="1852" y="1872"/>
                      <a:pt x="1828" y="1872"/>
                    </a:cubicBezTo>
                    <a:cubicBezTo>
                      <a:pt x="957" y="1872"/>
                      <a:pt x="957" y="1872"/>
                      <a:pt x="957" y="1872"/>
                    </a:cubicBezTo>
                    <a:cubicBezTo>
                      <a:pt x="960" y="1871"/>
                      <a:pt x="963" y="1869"/>
                      <a:pt x="966" y="1867"/>
                    </a:cubicBezTo>
                    <a:cubicBezTo>
                      <a:pt x="981" y="1858"/>
                      <a:pt x="992" y="1844"/>
                      <a:pt x="997" y="1828"/>
                    </a:cubicBezTo>
                    <a:cubicBezTo>
                      <a:pt x="1828" y="1828"/>
                      <a:pt x="1828" y="1828"/>
                      <a:pt x="1828" y="1828"/>
                    </a:cubicBezTo>
                    <a:cubicBezTo>
                      <a:pt x="1828" y="44"/>
                      <a:pt x="1828" y="44"/>
                      <a:pt x="1828" y="44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4" y="906"/>
                      <a:pt x="44" y="906"/>
                      <a:pt x="44" y="906"/>
                    </a:cubicBezTo>
                    <a:cubicBezTo>
                      <a:pt x="36" y="907"/>
                      <a:pt x="27" y="909"/>
                      <a:pt x="19" y="913"/>
                    </a:cubicBezTo>
                    <a:cubicBezTo>
                      <a:pt x="12" y="917"/>
                      <a:pt x="6" y="921"/>
                      <a:pt x="0" y="927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20"/>
                      <a:pt x="20" y="0"/>
                      <a:pt x="44" y="0"/>
                    </a:cubicBezTo>
                    <a:cubicBezTo>
                      <a:pt x="1828" y="0"/>
                      <a:pt x="1828" y="0"/>
                      <a:pt x="1828" y="0"/>
                    </a:cubicBezTo>
                    <a:cubicBezTo>
                      <a:pt x="1852" y="0"/>
                      <a:pt x="1872" y="20"/>
                      <a:pt x="1872" y="44"/>
                    </a:cubicBezTo>
                    <a:close/>
                    <a:moveTo>
                      <a:pt x="1273" y="241"/>
                    </a:moveTo>
                    <a:cubicBezTo>
                      <a:pt x="1272" y="241"/>
                      <a:pt x="1272" y="241"/>
                      <a:pt x="1272" y="241"/>
                    </a:cubicBezTo>
                    <a:cubicBezTo>
                      <a:pt x="1272" y="241"/>
                      <a:pt x="1272" y="241"/>
                      <a:pt x="1271" y="241"/>
                    </a:cubicBezTo>
                    <a:cubicBezTo>
                      <a:pt x="1259" y="241"/>
                      <a:pt x="1249" y="250"/>
                      <a:pt x="1249" y="263"/>
                    </a:cubicBezTo>
                    <a:cubicBezTo>
                      <a:pt x="1249" y="593"/>
                      <a:pt x="1249" y="593"/>
                      <a:pt x="1249" y="593"/>
                    </a:cubicBezTo>
                    <a:cubicBezTo>
                      <a:pt x="1249" y="593"/>
                      <a:pt x="1249" y="593"/>
                      <a:pt x="1249" y="593"/>
                    </a:cubicBezTo>
                    <a:cubicBezTo>
                      <a:pt x="1249" y="593"/>
                      <a:pt x="1249" y="593"/>
                      <a:pt x="1249" y="593"/>
                    </a:cubicBezTo>
                    <a:cubicBezTo>
                      <a:pt x="1249" y="593"/>
                      <a:pt x="1249" y="593"/>
                      <a:pt x="1249" y="593"/>
                    </a:cubicBezTo>
                    <a:cubicBezTo>
                      <a:pt x="1249" y="595"/>
                      <a:pt x="1250" y="596"/>
                      <a:pt x="1250" y="597"/>
                    </a:cubicBezTo>
                    <a:cubicBezTo>
                      <a:pt x="1250" y="598"/>
                      <a:pt x="1250" y="598"/>
                      <a:pt x="1250" y="598"/>
                    </a:cubicBezTo>
                    <a:cubicBezTo>
                      <a:pt x="1250" y="599"/>
                      <a:pt x="1251" y="600"/>
                      <a:pt x="1251" y="601"/>
                    </a:cubicBezTo>
                    <a:cubicBezTo>
                      <a:pt x="1251" y="602"/>
                      <a:pt x="1251" y="602"/>
                      <a:pt x="1251" y="602"/>
                    </a:cubicBezTo>
                    <a:cubicBezTo>
                      <a:pt x="1252" y="603"/>
                      <a:pt x="1252" y="604"/>
                      <a:pt x="1253" y="605"/>
                    </a:cubicBezTo>
                    <a:cubicBezTo>
                      <a:pt x="1253" y="605"/>
                      <a:pt x="1253" y="605"/>
                      <a:pt x="1253" y="606"/>
                    </a:cubicBezTo>
                    <a:cubicBezTo>
                      <a:pt x="1254" y="607"/>
                      <a:pt x="1255" y="608"/>
                      <a:pt x="1256" y="609"/>
                    </a:cubicBezTo>
                    <a:cubicBezTo>
                      <a:pt x="1256" y="609"/>
                      <a:pt x="1256" y="609"/>
                      <a:pt x="1256" y="609"/>
                    </a:cubicBezTo>
                    <a:cubicBezTo>
                      <a:pt x="1256" y="609"/>
                      <a:pt x="1256" y="609"/>
                      <a:pt x="1256" y="609"/>
                    </a:cubicBezTo>
                    <a:cubicBezTo>
                      <a:pt x="1257" y="610"/>
                      <a:pt x="1258" y="611"/>
                      <a:pt x="1259" y="612"/>
                    </a:cubicBezTo>
                    <a:cubicBezTo>
                      <a:pt x="1259" y="612"/>
                      <a:pt x="1259" y="612"/>
                      <a:pt x="1260" y="612"/>
                    </a:cubicBezTo>
                    <a:cubicBezTo>
                      <a:pt x="1261" y="613"/>
                      <a:pt x="1262" y="613"/>
                      <a:pt x="1263" y="614"/>
                    </a:cubicBezTo>
                    <a:cubicBezTo>
                      <a:pt x="1263" y="614"/>
                      <a:pt x="1263" y="614"/>
                      <a:pt x="1263" y="614"/>
                    </a:cubicBezTo>
                    <a:cubicBezTo>
                      <a:pt x="1265" y="614"/>
                      <a:pt x="1266" y="615"/>
                      <a:pt x="1267" y="615"/>
                    </a:cubicBezTo>
                    <a:cubicBezTo>
                      <a:pt x="1267" y="615"/>
                      <a:pt x="1267" y="615"/>
                      <a:pt x="1267" y="615"/>
                    </a:cubicBezTo>
                    <a:cubicBezTo>
                      <a:pt x="1269" y="615"/>
                      <a:pt x="1270" y="615"/>
                      <a:pt x="1271" y="615"/>
                    </a:cubicBezTo>
                    <a:cubicBezTo>
                      <a:pt x="1273" y="615"/>
                      <a:pt x="1273" y="615"/>
                      <a:pt x="1273" y="615"/>
                    </a:cubicBezTo>
                    <a:cubicBezTo>
                      <a:pt x="1600" y="615"/>
                      <a:pt x="1600" y="615"/>
                      <a:pt x="1600" y="615"/>
                    </a:cubicBezTo>
                    <a:cubicBezTo>
                      <a:pt x="1601" y="615"/>
                      <a:pt x="1601" y="615"/>
                      <a:pt x="1601" y="615"/>
                    </a:cubicBezTo>
                    <a:cubicBezTo>
                      <a:pt x="1613" y="615"/>
                      <a:pt x="1623" y="606"/>
                      <a:pt x="1623" y="593"/>
                    </a:cubicBezTo>
                    <a:cubicBezTo>
                      <a:pt x="1623" y="581"/>
                      <a:pt x="1613" y="571"/>
                      <a:pt x="1601" y="571"/>
                    </a:cubicBezTo>
                    <a:cubicBezTo>
                      <a:pt x="1600" y="571"/>
                      <a:pt x="1600" y="571"/>
                      <a:pt x="1600" y="571"/>
                    </a:cubicBezTo>
                    <a:cubicBezTo>
                      <a:pt x="1327" y="571"/>
                      <a:pt x="1327" y="571"/>
                      <a:pt x="1327" y="571"/>
                    </a:cubicBezTo>
                    <a:cubicBezTo>
                      <a:pt x="1720" y="183"/>
                      <a:pt x="1720" y="183"/>
                      <a:pt x="1720" y="183"/>
                    </a:cubicBezTo>
                    <a:cubicBezTo>
                      <a:pt x="1728" y="175"/>
                      <a:pt x="1728" y="161"/>
                      <a:pt x="1720" y="152"/>
                    </a:cubicBezTo>
                    <a:cubicBezTo>
                      <a:pt x="1715" y="148"/>
                      <a:pt x="1710" y="146"/>
                      <a:pt x="1704" y="146"/>
                    </a:cubicBezTo>
                    <a:cubicBezTo>
                      <a:pt x="1698" y="146"/>
                      <a:pt x="1692" y="148"/>
                      <a:pt x="1688" y="152"/>
                    </a:cubicBezTo>
                    <a:cubicBezTo>
                      <a:pt x="1295" y="539"/>
                      <a:pt x="1295" y="539"/>
                      <a:pt x="1295" y="539"/>
                    </a:cubicBezTo>
                    <a:cubicBezTo>
                      <a:pt x="1295" y="263"/>
                      <a:pt x="1295" y="263"/>
                      <a:pt x="1295" y="263"/>
                    </a:cubicBezTo>
                    <a:cubicBezTo>
                      <a:pt x="1295" y="250"/>
                      <a:pt x="1285" y="241"/>
                      <a:pt x="1273" y="24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</p:grpSp>
      </p:grpSp>
      <p:grpSp>
        <p:nvGrpSpPr>
          <p:cNvPr id="24" name="bcgIcons_Power">
            <a:extLst>
              <a:ext uri="{FF2B5EF4-FFF2-40B4-BE49-F238E27FC236}">
                <a16:creationId xmlns:a16="http://schemas.microsoft.com/office/drawing/2014/main" id="{31C33BD8-60C6-B164-A3E8-E018E15E0C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71091" y="3214940"/>
            <a:ext cx="507057" cy="507526"/>
            <a:chOff x="1682" y="0"/>
            <a:chExt cx="4316" cy="4320"/>
          </a:xfrm>
        </p:grpSpPr>
        <p:sp>
          <p:nvSpPr>
            <p:cNvPr id="25" name="AutoShape 45">
              <a:extLst>
                <a:ext uri="{FF2B5EF4-FFF2-40B4-BE49-F238E27FC236}">
                  <a16:creationId xmlns:a16="http://schemas.microsoft.com/office/drawing/2014/main" id="{6D960922-37C8-80E5-131E-807D0EA8F99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47">
              <a:extLst>
                <a:ext uri="{FF2B5EF4-FFF2-40B4-BE49-F238E27FC236}">
                  <a16:creationId xmlns:a16="http://schemas.microsoft.com/office/drawing/2014/main" id="{ED499BF5-FFAE-DC7E-F183-2FEEAA29C1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6" y="424"/>
              <a:ext cx="1875" cy="3489"/>
            </a:xfrm>
            <a:custGeom>
              <a:avLst/>
              <a:gdLst>
                <a:gd name="T0" fmla="*/ 672 w 1001"/>
                <a:gd name="T1" fmla="*/ 44 h 1861"/>
                <a:gd name="T2" fmla="*/ 552 w 1001"/>
                <a:gd name="T3" fmla="*/ 778 h 1861"/>
                <a:gd name="T4" fmla="*/ 957 w 1001"/>
                <a:gd name="T5" fmla="*/ 666 h 1861"/>
                <a:gd name="T6" fmla="*/ 332 w 1001"/>
                <a:gd name="T7" fmla="*/ 1817 h 1861"/>
                <a:gd name="T8" fmla="*/ 452 w 1001"/>
                <a:gd name="T9" fmla="*/ 1085 h 1861"/>
                <a:gd name="T10" fmla="*/ 47 w 1001"/>
                <a:gd name="T11" fmla="*/ 1195 h 1861"/>
                <a:gd name="T12" fmla="*/ 672 w 1001"/>
                <a:gd name="T13" fmla="*/ 44 h 1861"/>
                <a:gd name="T14" fmla="*/ 957 w 1001"/>
                <a:gd name="T15" fmla="*/ 666 h 1861"/>
                <a:gd name="T16" fmla="*/ 957 w 1001"/>
                <a:gd name="T17" fmla="*/ 666 h 1861"/>
                <a:gd name="T18" fmla="*/ 672 w 1001"/>
                <a:gd name="T19" fmla="*/ 0 h 1861"/>
                <a:gd name="T20" fmla="*/ 634 w 1001"/>
                <a:gd name="T21" fmla="*/ 23 h 1861"/>
                <a:gd name="T22" fmla="*/ 9 w 1001"/>
                <a:gd name="T23" fmla="*/ 1174 h 1861"/>
                <a:gd name="T24" fmla="*/ 13 w 1001"/>
                <a:gd name="T25" fmla="*/ 1222 h 1861"/>
                <a:gd name="T26" fmla="*/ 47 w 1001"/>
                <a:gd name="T27" fmla="*/ 1239 h 1861"/>
                <a:gd name="T28" fmla="*/ 59 w 1001"/>
                <a:gd name="T29" fmla="*/ 1237 h 1861"/>
                <a:gd name="T30" fmla="*/ 397 w 1001"/>
                <a:gd name="T31" fmla="*/ 1145 h 1861"/>
                <a:gd name="T32" fmla="*/ 288 w 1001"/>
                <a:gd name="T33" fmla="*/ 1810 h 1861"/>
                <a:gd name="T34" fmla="*/ 318 w 1001"/>
                <a:gd name="T35" fmla="*/ 1858 h 1861"/>
                <a:gd name="T36" fmla="*/ 332 w 1001"/>
                <a:gd name="T37" fmla="*/ 1861 h 1861"/>
                <a:gd name="T38" fmla="*/ 371 w 1001"/>
                <a:gd name="T39" fmla="*/ 1838 h 1861"/>
                <a:gd name="T40" fmla="*/ 995 w 1001"/>
                <a:gd name="T41" fmla="*/ 688 h 1861"/>
                <a:gd name="T42" fmla="*/ 1001 w 1001"/>
                <a:gd name="T43" fmla="*/ 666 h 1861"/>
                <a:gd name="T44" fmla="*/ 959 w 1001"/>
                <a:gd name="T45" fmla="*/ 622 h 1861"/>
                <a:gd name="T46" fmla="*/ 957 w 1001"/>
                <a:gd name="T47" fmla="*/ 622 h 1861"/>
                <a:gd name="T48" fmla="*/ 954 w 1001"/>
                <a:gd name="T49" fmla="*/ 622 h 1861"/>
                <a:gd name="T50" fmla="*/ 944 w 1001"/>
                <a:gd name="T51" fmla="*/ 624 h 1861"/>
                <a:gd name="T52" fmla="*/ 607 w 1001"/>
                <a:gd name="T53" fmla="*/ 717 h 1861"/>
                <a:gd name="T54" fmla="*/ 716 w 1001"/>
                <a:gd name="T55" fmla="*/ 51 h 1861"/>
                <a:gd name="T56" fmla="*/ 687 w 1001"/>
                <a:gd name="T57" fmla="*/ 2 h 1861"/>
                <a:gd name="T58" fmla="*/ 672 w 1001"/>
                <a:gd name="T59" fmla="*/ 0 h 1861"/>
                <a:gd name="T60" fmla="*/ 672 w 1001"/>
                <a:gd name="T61" fmla="*/ 88 h 1861"/>
                <a:gd name="T62" fmla="*/ 672 w 1001"/>
                <a:gd name="T63" fmla="*/ 88 h 1861"/>
                <a:gd name="T64" fmla="*/ 672 w 1001"/>
                <a:gd name="T65" fmla="*/ 88 h 1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1" h="1861">
                  <a:moveTo>
                    <a:pt x="672" y="44"/>
                  </a:moveTo>
                  <a:cubicBezTo>
                    <a:pt x="552" y="778"/>
                    <a:pt x="552" y="778"/>
                    <a:pt x="552" y="778"/>
                  </a:cubicBezTo>
                  <a:cubicBezTo>
                    <a:pt x="957" y="666"/>
                    <a:pt x="957" y="666"/>
                    <a:pt x="957" y="666"/>
                  </a:cubicBezTo>
                  <a:cubicBezTo>
                    <a:pt x="332" y="1817"/>
                    <a:pt x="332" y="1817"/>
                    <a:pt x="332" y="1817"/>
                  </a:cubicBezTo>
                  <a:cubicBezTo>
                    <a:pt x="452" y="1085"/>
                    <a:pt x="452" y="1085"/>
                    <a:pt x="452" y="1085"/>
                  </a:cubicBezTo>
                  <a:cubicBezTo>
                    <a:pt x="47" y="1195"/>
                    <a:pt x="47" y="1195"/>
                    <a:pt x="47" y="1195"/>
                  </a:cubicBezTo>
                  <a:cubicBezTo>
                    <a:pt x="672" y="44"/>
                    <a:pt x="672" y="44"/>
                    <a:pt x="672" y="44"/>
                  </a:cubicBezTo>
                  <a:moveTo>
                    <a:pt x="957" y="666"/>
                  </a:moveTo>
                  <a:cubicBezTo>
                    <a:pt x="957" y="666"/>
                    <a:pt x="957" y="666"/>
                    <a:pt x="957" y="666"/>
                  </a:cubicBezTo>
                  <a:moveTo>
                    <a:pt x="672" y="0"/>
                  </a:moveTo>
                  <a:cubicBezTo>
                    <a:pt x="657" y="0"/>
                    <a:pt x="642" y="9"/>
                    <a:pt x="634" y="23"/>
                  </a:cubicBezTo>
                  <a:cubicBezTo>
                    <a:pt x="9" y="1174"/>
                    <a:pt x="9" y="1174"/>
                    <a:pt x="9" y="1174"/>
                  </a:cubicBezTo>
                  <a:cubicBezTo>
                    <a:pt x="0" y="1189"/>
                    <a:pt x="2" y="1208"/>
                    <a:pt x="13" y="1222"/>
                  </a:cubicBezTo>
                  <a:cubicBezTo>
                    <a:pt x="21" y="1233"/>
                    <a:pt x="34" y="1239"/>
                    <a:pt x="47" y="1239"/>
                  </a:cubicBezTo>
                  <a:cubicBezTo>
                    <a:pt x="51" y="1239"/>
                    <a:pt x="55" y="1238"/>
                    <a:pt x="59" y="1237"/>
                  </a:cubicBezTo>
                  <a:cubicBezTo>
                    <a:pt x="397" y="1145"/>
                    <a:pt x="397" y="1145"/>
                    <a:pt x="397" y="1145"/>
                  </a:cubicBezTo>
                  <a:cubicBezTo>
                    <a:pt x="288" y="1810"/>
                    <a:pt x="288" y="1810"/>
                    <a:pt x="288" y="1810"/>
                  </a:cubicBezTo>
                  <a:cubicBezTo>
                    <a:pt x="285" y="1831"/>
                    <a:pt x="297" y="1851"/>
                    <a:pt x="318" y="1858"/>
                  </a:cubicBezTo>
                  <a:cubicBezTo>
                    <a:pt x="322" y="1860"/>
                    <a:pt x="327" y="1861"/>
                    <a:pt x="332" y="1861"/>
                  </a:cubicBezTo>
                  <a:cubicBezTo>
                    <a:pt x="348" y="1861"/>
                    <a:pt x="363" y="1852"/>
                    <a:pt x="371" y="1838"/>
                  </a:cubicBezTo>
                  <a:cubicBezTo>
                    <a:pt x="995" y="688"/>
                    <a:pt x="995" y="688"/>
                    <a:pt x="995" y="688"/>
                  </a:cubicBezTo>
                  <a:cubicBezTo>
                    <a:pt x="999" y="681"/>
                    <a:pt x="1001" y="674"/>
                    <a:pt x="1001" y="666"/>
                  </a:cubicBezTo>
                  <a:cubicBezTo>
                    <a:pt x="1001" y="642"/>
                    <a:pt x="982" y="623"/>
                    <a:pt x="959" y="622"/>
                  </a:cubicBezTo>
                  <a:cubicBezTo>
                    <a:pt x="958" y="622"/>
                    <a:pt x="958" y="622"/>
                    <a:pt x="957" y="622"/>
                  </a:cubicBezTo>
                  <a:cubicBezTo>
                    <a:pt x="956" y="622"/>
                    <a:pt x="955" y="622"/>
                    <a:pt x="954" y="622"/>
                  </a:cubicBezTo>
                  <a:cubicBezTo>
                    <a:pt x="950" y="622"/>
                    <a:pt x="947" y="623"/>
                    <a:pt x="944" y="624"/>
                  </a:cubicBezTo>
                  <a:cubicBezTo>
                    <a:pt x="607" y="717"/>
                    <a:pt x="607" y="717"/>
                    <a:pt x="607" y="717"/>
                  </a:cubicBezTo>
                  <a:cubicBezTo>
                    <a:pt x="716" y="51"/>
                    <a:pt x="716" y="51"/>
                    <a:pt x="716" y="51"/>
                  </a:cubicBezTo>
                  <a:cubicBezTo>
                    <a:pt x="719" y="30"/>
                    <a:pt x="707" y="9"/>
                    <a:pt x="687" y="2"/>
                  </a:cubicBezTo>
                  <a:cubicBezTo>
                    <a:pt x="682" y="1"/>
                    <a:pt x="677" y="0"/>
                    <a:pt x="672" y="0"/>
                  </a:cubicBezTo>
                  <a:close/>
                  <a:moveTo>
                    <a:pt x="672" y="88"/>
                  </a:moveTo>
                  <a:cubicBezTo>
                    <a:pt x="672" y="88"/>
                    <a:pt x="672" y="88"/>
                    <a:pt x="672" y="88"/>
                  </a:cubicBezTo>
                  <a:cubicBezTo>
                    <a:pt x="672" y="88"/>
                    <a:pt x="672" y="88"/>
                    <a:pt x="672" y="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8">
              <a:extLst>
                <a:ext uri="{FF2B5EF4-FFF2-40B4-BE49-F238E27FC236}">
                  <a16:creationId xmlns:a16="http://schemas.microsoft.com/office/drawing/2014/main" id="{43CECB60-95D5-6BE0-12AB-D6EAADEC2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2" y="953"/>
              <a:ext cx="1390" cy="2431"/>
            </a:xfrm>
            <a:custGeom>
              <a:avLst/>
              <a:gdLst>
                <a:gd name="T0" fmla="*/ 529 w 1390"/>
                <a:gd name="T1" fmla="*/ 2431 h 2431"/>
                <a:gd name="T2" fmla="*/ 709 w 1390"/>
                <a:gd name="T3" fmla="*/ 1395 h 2431"/>
                <a:gd name="T4" fmla="*/ 0 w 1390"/>
                <a:gd name="T5" fmla="*/ 1586 h 2431"/>
                <a:gd name="T6" fmla="*/ 862 w 1390"/>
                <a:gd name="T7" fmla="*/ 0 h 2431"/>
                <a:gd name="T8" fmla="*/ 682 w 1390"/>
                <a:gd name="T9" fmla="*/ 1033 h 2431"/>
                <a:gd name="T10" fmla="*/ 1390 w 1390"/>
                <a:gd name="T11" fmla="*/ 843 h 2431"/>
                <a:gd name="T12" fmla="*/ 529 w 1390"/>
                <a:gd name="T13" fmla="*/ 2431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0" h="2431">
                  <a:moveTo>
                    <a:pt x="529" y="2431"/>
                  </a:moveTo>
                  <a:lnTo>
                    <a:pt x="709" y="1395"/>
                  </a:lnTo>
                  <a:lnTo>
                    <a:pt x="0" y="1586"/>
                  </a:lnTo>
                  <a:lnTo>
                    <a:pt x="862" y="0"/>
                  </a:lnTo>
                  <a:lnTo>
                    <a:pt x="682" y="1033"/>
                  </a:lnTo>
                  <a:lnTo>
                    <a:pt x="1390" y="843"/>
                  </a:lnTo>
                  <a:lnTo>
                    <a:pt x="529" y="243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Group 54">
            <a:extLst>
              <a:ext uri="{FF2B5EF4-FFF2-40B4-BE49-F238E27FC236}">
                <a16:creationId xmlns:a16="http://schemas.microsoft.com/office/drawing/2014/main" id="{F9A63133-4A57-F3CF-9A5C-923731738C3D}"/>
              </a:ext>
            </a:extLst>
          </p:cNvPr>
          <p:cNvGrpSpPr>
            <a:grpSpLocks noChangeAspect="1"/>
          </p:cNvGrpSpPr>
          <p:nvPr/>
        </p:nvGrpSpPr>
        <p:grpSpPr>
          <a:xfrm>
            <a:off x="6470857" y="2389811"/>
            <a:ext cx="507526" cy="507526"/>
            <a:chOff x="5272330" y="2605278"/>
            <a:chExt cx="1645920" cy="1645920"/>
          </a:xfrm>
        </p:grpSpPr>
        <p:sp>
          <p:nvSpPr>
            <p:cNvPr id="29" name="AutoShape 3">
              <a:extLst>
                <a:ext uri="{FF2B5EF4-FFF2-40B4-BE49-F238E27FC236}">
                  <a16:creationId xmlns:a16="http://schemas.microsoft.com/office/drawing/2014/main" id="{C43D6CA4-F686-66EB-216E-8C6E558129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330" y="2605278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0" name="Group 56">
              <a:extLst>
                <a:ext uri="{FF2B5EF4-FFF2-40B4-BE49-F238E27FC236}">
                  <a16:creationId xmlns:a16="http://schemas.microsoft.com/office/drawing/2014/main" id="{31CA8F2C-525A-C0D2-02F6-5FC0589FE521}"/>
                </a:ext>
              </a:extLst>
            </p:cNvPr>
            <p:cNvGrpSpPr/>
            <p:nvPr/>
          </p:nvGrpSpPr>
          <p:grpSpPr>
            <a:xfrm>
              <a:off x="5424297" y="2880360"/>
              <a:ext cx="1341986" cy="1095756"/>
              <a:chOff x="5424297" y="2880360"/>
              <a:chExt cx="1341986" cy="1095756"/>
            </a:xfrm>
          </p:grpSpPr>
          <p:sp>
            <p:nvSpPr>
              <p:cNvPr id="31" name="Freeform 25">
                <a:extLst>
                  <a:ext uri="{FF2B5EF4-FFF2-40B4-BE49-F238E27FC236}">
                    <a16:creationId xmlns:a16="http://schemas.microsoft.com/office/drawing/2014/main" id="{D341E0B9-65B3-E036-BCB6-D331FC7E53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297" y="2880360"/>
                <a:ext cx="1082609" cy="826495"/>
              </a:xfrm>
              <a:custGeom>
                <a:avLst/>
                <a:gdLst>
                  <a:gd name="connsiteX0" fmla="*/ 2428875 w 4510872"/>
                  <a:gd name="connsiteY0" fmla="*/ 2511425 h 3443730"/>
                  <a:gd name="connsiteX1" fmla="*/ 2718485 w 4510872"/>
                  <a:gd name="connsiteY1" fmla="*/ 2672626 h 3443730"/>
                  <a:gd name="connsiteX2" fmla="*/ 2748342 w 4510872"/>
                  <a:gd name="connsiteY2" fmla="*/ 2741285 h 3443730"/>
                  <a:gd name="connsiteX3" fmla="*/ 2691614 w 4510872"/>
                  <a:gd name="connsiteY3" fmla="*/ 2786063 h 3443730"/>
                  <a:gd name="connsiteX4" fmla="*/ 2593087 w 4510872"/>
                  <a:gd name="connsiteY4" fmla="*/ 2786063 h 3443730"/>
                  <a:gd name="connsiteX5" fmla="*/ 2428875 w 4510872"/>
                  <a:gd name="connsiteY5" fmla="*/ 2511425 h 3443730"/>
                  <a:gd name="connsiteX6" fmla="*/ 4144539 w 4510872"/>
                  <a:gd name="connsiteY6" fmla="*/ 1955800 h 3443730"/>
                  <a:gd name="connsiteX7" fmla="*/ 4144539 w 4510872"/>
                  <a:gd name="connsiteY7" fmla="*/ 2425578 h 3443730"/>
                  <a:gd name="connsiteX8" fmla="*/ 2425928 w 4510872"/>
                  <a:gd name="connsiteY8" fmla="*/ 2425578 h 3443730"/>
                  <a:gd name="connsiteX9" fmla="*/ 2425928 w 4510872"/>
                  <a:gd name="connsiteY9" fmla="*/ 2493963 h 3443730"/>
                  <a:gd name="connsiteX10" fmla="*/ 2381250 w 4510872"/>
                  <a:gd name="connsiteY10" fmla="*/ 2306647 h 3443730"/>
                  <a:gd name="connsiteX11" fmla="*/ 4144539 w 4510872"/>
                  <a:gd name="connsiteY11" fmla="*/ 2306647 h 3443730"/>
                  <a:gd name="connsiteX12" fmla="*/ 4144539 w 4510872"/>
                  <a:gd name="connsiteY12" fmla="*/ 1955800 h 3443730"/>
                  <a:gd name="connsiteX13" fmla="*/ 3295553 w 4510872"/>
                  <a:gd name="connsiteY13" fmla="*/ 1169783 h 3443730"/>
                  <a:gd name="connsiteX14" fmla="*/ 2569208 w 4510872"/>
                  <a:gd name="connsiteY14" fmla="*/ 1452235 h 3443730"/>
                  <a:gd name="connsiteX15" fmla="*/ 2539439 w 4510872"/>
                  <a:gd name="connsiteY15" fmla="*/ 2893146 h 3443730"/>
                  <a:gd name="connsiteX16" fmla="*/ 3899849 w 4510872"/>
                  <a:gd name="connsiteY16" fmla="*/ 2997344 h 3443730"/>
                  <a:gd name="connsiteX17" fmla="*/ 3986177 w 4510872"/>
                  <a:gd name="connsiteY17" fmla="*/ 2922917 h 3443730"/>
                  <a:gd name="connsiteX18" fmla="*/ 4069528 w 4510872"/>
                  <a:gd name="connsiteY18" fmla="*/ 2827650 h 3443730"/>
                  <a:gd name="connsiteX19" fmla="*/ 4012968 w 4510872"/>
                  <a:gd name="connsiteY19" fmla="*/ 1479028 h 3443730"/>
                  <a:gd name="connsiteX20" fmla="*/ 3295553 w 4510872"/>
                  <a:gd name="connsiteY20" fmla="*/ 1169783 h 3443730"/>
                  <a:gd name="connsiteX21" fmla="*/ 3299874 w 4510872"/>
                  <a:gd name="connsiteY21" fmla="*/ 1025826 h 3443730"/>
                  <a:gd name="connsiteX22" fmla="*/ 4117875 w 4510872"/>
                  <a:gd name="connsiteY22" fmla="*/ 1381236 h 3443730"/>
                  <a:gd name="connsiteX23" fmla="*/ 4225056 w 4510872"/>
                  <a:gd name="connsiteY23" fmla="*/ 2863910 h 3443730"/>
                  <a:gd name="connsiteX24" fmla="*/ 4501941 w 4510872"/>
                  <a:gd name="connsiteY24" fmla="*/ 3149726 h 3443730"/>
                  <a:gd name="connsiteX25" fmla="*/ 4501941 w 4510872"/>
                  <a:gd name="connsiteY25" fmla="*/ 3194385 h 3443730"/>
                  <a:gd name="connsiteX26" fmla="*/ 4248875 w 4510872"/>
                  <a:gd name="connsiteY26" fmla="*/ 3432566 h 3443730"/>
                  <a:gd name="connsiteX27" fmla="*/ 4204216 w 4510872"/>
                  <a:gd name="connsiteY27" fmla="*/ 3432566 h 3443730"/>
                  <a:gd name="connsiteX28" fmla="*/ 3933285 w 4510872"/>
                  <a:gd name="connsiteY28" fmla="*/ 3152703 h 3443730"/>
                  <a:gd name="connsiteX29" fmla="*/ 2435726 w 4510872"/>
                  <a:gd name="connsiteY29" fmla="*/ 2997886 h 3443730"/>
                  <a:gd name="connsiteX30" fmla="*/ 2468475 w 4510872"/>
                  <a:gd name="connsiteY30" fmla="*/ 1351464 h 3443730"/>
                  <a:gd name="connsiteX31" fmla="*/ 3299874 w 4510872"/>
                  <a:gd name="connsiteY31" fmla="*/ 1025826 h 3443730"/>
                  <a:gd name="connsiteX32" fmla="*/ 59531 w 4510872"/>
                  <a:gd name="connsiteY32" fmla="*/ 0 h 3443730"/>
                  <a:gd name="connsiteX33" fmla="*/ 4202907 w 4510872"/>
                  <a:gd name="connsiteY33" fmla="*/ 0 h 3443730"/>
                  <a:gd name="connsiteX34" fmla="*/ 4262438 w 4510872"/>
                  <a:gd name="connsiteY34" fmla="*/ 59531 h 3443730"/>
                  <a:gd name="connsiteX35" fmla="*/ 4262438 w 4510872"/>
                  <a:gd name="connsiteY35" fmla="*/ 1372196 h 3443730"/>
                  <a:gd name="connsiteX36" fmla="*/ 4199930 w 4510872"/>
                  <a:gd name="connsiteY36" fmla="*/ 1300758 h 3443730"/>
                  <a:gd name="connsiteX37" fmla="*/ 4140399 w 4510872"/>
                  <a:gd name="connsiteY37" fmla="*/ 1244204 h 3443730"/>
                  <a:gd name="connsiteX38" fmla="*/ 4140399 w 4510872"/>
                  <a:gd name="connsiteY38" fmla="*/ 122039 h 3443730"/>
                  <a:gd name="connsiteX39" fmla="*/ 119062 w 4510872"/>
                  <a:gd name="connsiteY39" fmla="*/ 122039 h 3443730"/>
                  <a:gd name="connsiteX40" fmla="*/ 119062 w 4510872"/>
                  <a:gd name="connsiteY40" fmla="*/ 2309813 h 3443730"/>
                  <a:gd name="connsiteX41" fmla="*/ 1896070 w 4510872"/>
                  <a:gd name="connsiteY41" fmla="*/ 2309813 h 3443730"/>
                  <a:gd name="connsiteX42" fmla="*/ 1955602 w 4510872"/>
                  <a:gd name="connsiteY42" fmla="*/ 2369344 h 3443730"/>
                  <a:gd name="connsiteX43" fmla="*/ 1955602 w 4510872"/>
                  <a:gd name="connsiteY43" fmla="*/ 2544962 h 3443730"/>
                  <a:gd name="connsiteX44" fmla="*/ 1925836 w 4510872"/>
                  <a:gd name="connsiteY44" fmla="*/ 2598540 h 3443730"/>
                  <a:gd name="connsiteX45" fmla="*/ 1800820 w 4510872"/>
                  <a:gd name="connsiteY45" fmla="*/ 2664024 h 3443730"/>
                  <a:gd name="connsiteX46" fmla="*/ 2074664 w 4510872"/>
                  <a:gd name="connsiteY46" fmla="*/ 2664024 h 3443730"/>
                  <a:gd name="connsiteX47" fmla="*/ 2131219 w 4510872"/>
                  <a:gd name="connsiteY47" fmla="*/ 2786063 h 3443730"/>
                  <a:gd name="connsiteX48" fmla="*/ 1565672 w 4510872"/>
                  <a:gd name="connsiteY48" fmla="*/ 2786063 h 3443730"/>
                  <a:gd name="connsiteX49" fmla="*/ 1509117 w 4510872"/>
                  <a:gd name="connsiteY49" fmla="*/ 2741415 h 3443730"/>
                  <a:gd name="connsiteX50" fmla="*/ 1538883 w 4510872"/>
                  <a:gd name="connsiteY50" fmla="*/ 2672954 h 3443730"/>
                  <a:gd name="connsiteX51" fmla="*/ 1836539 w 4510872"/>
                  <a:gd name="connsiteY51" fmla="*/ 2509243 h 3443730"/>
                  <a:gd name="connsiteX52" fmla="*/ 1836539 w 4510872"/>
                  <a:gd name="connsiteY52" fmla="*/ 2428876 h 3443730"/>
                  <a:gd name="connsiteX53" fmla="*/ 59531 w 4510872"/>
                  <a:gd name="connsiteY53" fmla="*/ 2428876 h 3443730"/>
                  <a:gd name="connsiteX54" fmla="*/ 0 w 4510872"/>
                  <a:gd name="connsiteY54" fmla="*/ 2369344 h 3443730"/>
                  <a:gd name="connsiteX55" fmla="*/ 0 w 4510872"/>
                  <a:gd name="connsiteY55" fmla="*/ 59531 h 3443730"/>
                  <a:gd name="connsiteX56" fmla="*/ 59531 w 4510872"/>
                  <a:gd name="connsiteY56" fmla="*/ 0 h 3443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4510872" h="3443730">
                    <a:moveTo>
                      <a:pt x="2428875" y="2511425"/>
                    </a:moveTo>
                    <a:cubicBezTo>
                      <a:pt x="2428875" y="2511425"/>
                      <a:pt x="2428875" y="2511425"/>
                      <a:pt x="2718485" y="2672626"/>
                    </a:cubicBezTo>
                    <a:cubicBezTo>
                      <a:pt x="2742371" y="2687552"/>
                      <a:pt x="2754313" y="2714418"/>
                      <a:pt x="2748342" y="2741285"/>
                    </a:cubicBezTo>
                    <a:cubicBezTo>
                      <a:pt x="2742371" y="2768152"/>
                      <a:pt x="2718485" y="2786063"/>
                      <a:pt x="2691614" y="2786063"/>
                    </a:cubicBezTo>
                    <a:cubicBezTo>
                      <a:pt x="2691614" y="2786063"/>
                      <a:pt x="2691614" y="2786063"/>
                      <a:pt x="2593087" y="2786063"/>
                    </a:cubicBezTo>
                    <a:cubicBezTo>
                      <a:pt x="2518445" y="2702478"/>
                      <a:pt x="2464703" y="2609937"/>
                      <a:pt x="2428875" y="2511425"/>
                    </a:cubicBezTo>
                    <a:close/>
                    <a:moveTo>
                      <a:pt x="4144539" y="1955800"/>
                    </a:moveTo>
                    <a:cubicBezTo>
                      <a:pt x="4186238" y="2110410"/>
                      <a:pt x="4186238" y="2270967"/>
                      <a:pt x="4144539" y="2425578"/>
                    </a:cubicBezTo>
                    <a:cubicBezTo>
                      <a:pt x="4144539" y="2425578"/>
                      <a:pt x="4144539" y="2425578"/>
                      <a:pt x="2425928" y="2425578"/>
                    </a:cubicBezTo>
                    <a:cubicBezTo>
                      <a:pt x="2425928" y="2425578"/>
                      <a:pt x="2425928" y="2425578"/>
                      <a:pt x="2425928" y="2493963"/>
                    </a:cubicBezTo>
                    <a:cubicBezTo>
                      <a:pt x="2405078" y="2434498"/>
                      <a:pt x="2390186" y="2372059"/>
                      <a:pt x="2381250" y="2306647"/>
                    </a:cubicBezTo>
                    <a:cubicBezTo>
                      <a:pt x="2381250" y="2306647"/>
                      <a:pt x="2381250" y="2306647"/>
                      <a:pt x="4144539" y="2306647"/>
                    </a:cubicBezTo>
                    <a:cubicBezTo>
                      <a:pt x="4144539" y="2306647"/>
                      <a:pt x="4144539" y="2306647"/>
                      <a:pt x="4144539" y="1955800"/>
                    </a:cubicBezTo>
                    <a:close/>
                    <a:moveTo>
                      <a:pt x="3295553" y="1169783"/>
                    </a:moveTo>
                    <a:cubicBezTo>
                      <a:pt x="3034337" y="1164946"/>
                      <a:pt x="2771632" y="1258724"/>
                      <a:pt x="2569208" y="1452235"/>
                    </a:cubicBezTo>
                    <a:cubicBezTo>
                      <a:pt x="2161383" y="1845210"/>
                      <a:pt x="2149475" y="2488262"/>
                      <a:pt x="2539439" y="2893146"/>
                    </a:cubicBezTo>
                    <a:cubicBezTo>
                      <a:pt x="2905589" y="3274213"/>
                      <a:pt x="3492024" y="3309938"/>
                      <a:pt x="3899849" y="2997344"/>
                    </a:cubicBezTo>
                    <a:cubicBezTo>
                      <a:pt x="3929617" y="2973527"/>
                      <a:pt x="3959385" y="2946733"/>
                      <a:pt x="3986177" y="2922917"/>
                    </a:cubicBezTo>
                    <a:cubicBezTo>
                      <a:pt x="4015945" y="2893146"/>
                      <a:pt x="4042737" y="2860398"/>
                      <a:pt x="4069528" y="2827650"/>
                    </a:cubicBezTo>
                    <a:cubicBezTo>
                      <a:pt x="4391025" y="2434674"/>
                      <a:pt x="4376141" y="1854142"/>
                      <a:pt x="4012968" y="1479028"/>
                    </a:cubicBezTo>
                    <a:cubicBezTo>
                      <a:pt x="3816498" y="1278075"/>
                      <a:pt x="3556770" y="1174621"/>
                      <a:pt x="3295553" y="1169783"/>
                    </a:cubicBezTo>
                    <a:close/>
                    <a:moveTo>
                      <a:pt x="3299874" y="1025826"/>
                    </a:moveTo>
                    <a:cubicBezTo>
                      <a:pt x="3598344" y="1031409"/>
                      <a:pt x="3894581" y="1150499"/>
                      <a:pt x="4117875" y="1381236"/>
                    </a:cubicBezTo>
                    <a:cubicBezTo>
                      <a:pt x="4510873" y="1792097"/>
                      <a:pt x="4546600" y="2417321"/>
                      <a:pt x="4225056" y="2863910"/>
                    </a:cubicBezTo>
                    <a:cubicBezTo>
                      <a:pt x="4501941" y="3149726"/>
                      <a:pt x="4501941" y="3149726"/>
                      <a:pt x="4501941" y="3149726"/>
                    </a:cubicBezTo>
                    <a:cubicBezTo>
                      <a:pt x="4513850" y="3161635"/>
                      <a:pt x="4513850" y="3185453"/>
                      <a:pt x="4501941" y="3194385"/>
                    </a:cubicBezTo>
                    <a:cubicBezTo>
                      <a:pt x="4248875" y="3432566"/>
                      <a:pt x="4248875" y="3432566"/>
                      <a:pt x="4248875" y="3432566"/>
                    </a:cubicBezTo>
                    <a:cubicBezTo>
                      <a:pt x="4239943" y="3447452"/>
                      <a:pt x="4219102" y="3447452"/>
                      <a:pt x="4204216" y="3432566"/>
                    </a:cubicBezTo>
                    <a:cubicBezTo>
                      <a:pt x="3933285" y="3152703"/>
                      <a:pt x="3933285" y="3152703"/>
                      <a:pt x="3933285" y="3152703"/>
                    </a:cubicBezTo>
                    <a:cubicBezTo>
                      <a:pt x="3471811" y="3462338"/>
                      <a:pt x="2834678" y="3408748"/>
                      <a:pt x="2435726" y="2997886"/>
                    </a:cubicBezTo>
                    <a:cubicBezTo>
                      <a:pt x="1989137" y="2533434"/>
                      <a:pt x="2004023" y="1795075"/>
                      <a:pt x="2468475" y="1351464"/>
                    </a:cubicBezTo>
                    <a:cubicBezTo>
                      <a:pt x="2700701" y="1128169"/>
                      <a:pt x="3001404" y="1020244"/>
                      <a:pt x="3299874" y="1025826"/>
                    </a:cubicBezTo>
                    <a:close/>
                    <a:moveTo>
                      <a:pt x="59531" y="0"/>
                    </a:moveTo>
                    <a:cubicBezTo>
                      <a:pt x="59531" y="0"/>
                      <a:pt x="59531" y="0"/>
                      <a:pt x="4202907" y="0"/>
                    </a:cubicBezTo>
                    <a:cubicBezTo>
                      <a:pt x="4232673" y="0"/>
                      <a:pt x="4262438" y="26789"/>
                      <a:pt x="4262438" y="59531"/>
                    </a:cubicBezTo>
                    <a:cubicBezTo>
                      <a:pt x="4262438" y="59531"/>
                      <a:pt x="4262438" y="59531"/>
                      <a:pt x="4262438" y="1372196"/>
                    </a:cubicBezTo>
                    <a:cubicBezTo>
                      <a:pt x="4241602" y="1345407"/>
                      <a:pt x="4220766" y="1321594"/>
                      <a:pt x="4199930" y="1300758"/>
                    </a:cubicBezTo>
                    <a:cubicBezTo>
                      <a:pt x="4179094" y="1279922"/>
                      <a:pt x="4161235" y="1262063"/>
                      <a:pt x="4140399" y="1244204"/>
                    </a:cubicBezTo>
                    <a:cubicBezTo>
                      <a:pt x="4140399" y="1244204"/>
                      <a:pt x="4140399" y="1244204"/>
                      <a:pt x="4140399" y="122039"/>
                    </a:cubicBezTo>
                    <a:cubicBezTo>
                      <a:pt x="4140399" y="122039"/>
                      <a:pt x="4140399" y="122039"/>
                      <a:pt x="119062" y="122039"/>
                    </a:cubicBezTo>
                    <a:cubicBezTo>
                      <a:pt x="119062" y="122039"/>
                      <a:pt x="119062" y="122039"/>
                      <a:pt x="119062" y="2309813"/>
                    </a:cubicBezTo>
                    <a:cubicBezTo>
                      <a:pt x="119062" y="2309813"/>
                      <a:pt x="119062" y="2309813"/>
                      <a:pt x="1896070" y="2309813"/>
                    </a:cubicBezTo>
                    <a:cubicBezTo>
                      <a:pt x="1931789" y="2309813"/>
                      <a:pt x="1955602" y="2336602"/>
                      <a:pt x="1955602" y="2369344"/>
                    </a:cubicBezTo>
                    <a:cubicBezTo>
                      <a:pt x="1955602" y="2369344"/>
                      <a:pt x="1955602" y="2369344"/>
                      <a:pt x="1955602" y="2544962"/>
                    </a:cubicBezTo>
                    <a:cubicBezTo>
                      <a:pt x="1955602" y="2565797"/>
                      <a:pt x="1943695" y="2589610"/>
                      <a:pt x="1925836" y="2598540"/>
                    </a:cubicBezTo>
                    <a:cubicBezTo>
                      <a:pt x="1925836" y="2598540"/>
                      <a:pt x="1925836" y="2598540"/>
                      <a:pt x="1800820" y="2664024"/>
                    </a:cubicBezTo>
                    <a:cubicBezTo>
                      <a:pt x="1800820" y="2664024"/>
                      <a:pt x="1800820" y="2664024"/>
                      <a:pt x="2074664" y="2664024"/>
                    </a:cubicBezTo>
                    <a:cubicBezTo>
                      <a:pt x="2092523" y="2705696"/>
                      <a:pt x="2110383" y="2747368"/>
                      <a:pt x="2131219" y="2786063"/>
                    </a:cubicBezTo>
                    <a:cubicBezTo>
                      <a:pt x="2131219" y="2786063"/>
                      <a:pt x="2131219" y="2786063"/>
                      <a:pt x="1565672" y="2786063"/>
                    </a:cubicBezTo>
                    <a:cubicBezTo>
                      <a:pt x="1538883" y="2786063"/>
                      <a:pt x="1515070" y="2768204"/>
                      <a:pt x="1509117" y="2741415"/>
                    </a:cubicBezTo>
                    <a:cubicBezTo>
                      <a:pt x="1500187" y="2714626"/>
                      <a:pt x="1515070" y="2687837"/>
                      <a:pt x="1538883" y="2672954"/>
                    </a:cubicBezTo>
                    <a:cubicBezTo>
                      <a:pt x="1538883" y="2672954"/>
                      <a:pt x="1538883" y="2672954"/>
                      <a:pt x="1836539" y="2509243"/>
                    </a:cubicBezTo>
                    <a:cubicBezTo>
                      <a:pt x="1836539" y="2509243"/>
                      <a:pt x="1836539" y="2509243"/>
                      <a:pt x="1836539" y="2428876"/>
                    </a:cubicBezTo>
                    <a:cubicBezTo>
                      <a:pt x="1836539" y="2428876"/>
                      <a:pt x="1836539" y="2428876"/>
                      <a:pt x="59531" y="2428876"/>
                    </a:cubicBezTo>
                    <a:cubicBezTo>
                      <a:pt x="23812" y="2428876"/>
                      <a:pt x="0" y="2402086"/>
                      <a:pt x="0" y="2369344"/>
                    </a:cubicBezTo>
                    <a:cubicBezTo>
                      <a:pt x="0" y="2369344"/>
                      <a:pt x="0" y="2369344"/>
                      <a:pt x="0" y="59531"/>
                    </a:cubicBezTo>
                    <a:cubicBezTo>
                      <a:pt x="0" y="26789"/>
                      <a:pt x="23812" y="0"/>
                      <a:pt x="5953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2" name="Freeform 26">
                <a:extLst>
                  <a:ext uri="{FF2B5EF4-FFF2-40B4-BE49-F238E27FC236}">
                    <a16:creationId xmlns:a16="http://schemas.microsoft.com/office/drawing/2014/main" id="{681B3503-41AD-BC56-6B97-04D2AE934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1447" y="2941701"/>
                <a:ext cx="1284836" cy="1034415"/>
              </a:xfrm>
              <a:custGeom>
                <a:avLst/>
                <a:gdLst>
                  <a:gd name="connsiteX0" fmla="*/ 4426759 w 5353486"/>
                  <a:gd name="connsiteY0" fmla="*/ 3108325 h 4310063"/>
                  <a:gd name="connsiteX1" fmla="*/ 4179889 w 5353486"/>
                  <a:gd name="connsiteY1" fmla="*/ 3349339 h 4310063"/>
                  <a:gd name="connsiteX2" fmla="*/ 4979985 w 5353486"/>
                  <a:gd name="connsiteY2" fmla="*/ 4188424 h 4310063"/>
                  <a:gd name="connsiteX3" fmla="*/ 5146548 w 5353486"/>
                  <a:gd name="connsiteY3" fmla="*/ 4111061 h 4310063"/>
                  <a:gd name="connsiteX4" fmla="*/ 5226855 w 5353486"/>
                  <a:gd name="connsiteY4" fmla="*/ 3997993 h 4310063"/>
                  <a:gd name="connsiteX5" fmla="*/ 5229829 w 5353486"/>
                  <a:gd name="connsiteY5" fmla="*/ 3947410 h 4310063"/>
                  <a:gd name="connsiteX6" fmla="*/ 4426759 w 5353486"/>
                  <a:gd name="connsiteY6" fmla="*/ 3108325 h 4310063"/>
                  <a:gd name="connsiteX7" fmla="*/ 4429524 w 5353486"/>
                  <a:gd name="connsiteY7" fmla="*/ 2965450 h 4310063"/>
                  <a:gd name="connsiteX8" fmla="*/ 4474172 w 5353486"/>
                  <a:gd name="connsiteY8" fmla="*/ 2983299 h 4310063"/>
                  <a:gd name="connsiteX9" fmla="*/ 5316539 w 5353486"/>
                  <a:gd name="connsiteY9" fmla="*/ 3863842 h 4310063"/>
                  <a:gd name="connsiteX10" fmla="*/ 5340352 w 5353486"/>
                  <a:gd name="connsiteY10" fmla="*/ 4033406 h 4310063"/>
                  <a:gd name="connsiteX11" fmla="*/ 5230219 w 5353486"/>
                  <a:gd name="connsiteY11" fmla="*/ 4197021 h 4310063"/>
                  <a:gd name="connsiteX12" fmla="*/ 4998047 w 5353486"/>
                  <a:gd name="connsiteY12" fmla="*/ 4310063 h 4310063"/>
                  <a:gd name="connsiteX13" fmla="*/ 4893867 w 5353486"/>
                  <a:gd name="connsiteY13" fmla="*/ 4268416 h 4310063"/>
                  <a:gd name="connsiteX14" fmla="*/ 4051500 w 5353486"/>
                  <a:gd name="connsiteY14" fmla="*/ 3387873 h 4310063"/>
                  <a:gd name="connsiteX15" fmla="*/ 4051500 w 5353486"/>
                  <a:gd name="connsiteY15" fmla="*/ 3304578 h 4310063"/>
                  <a:gd name="connsiteX16" fmla="*/ 4387852 w 5353486"/>
                  <a:gd name="connsiteY16" fmla="*/ 2980324 h 4310063"/>
                  <a:gd name="connsiteX17" fmla="*/ 4429524 w 5353486"/>
                  <a:gd name="connsiteY17" fmla="*/ 2965450 h 4310063"/>
                  <a:gd name="connsiteX18" fmla="*/ 2509837 w 5353486"/>
                  <a:gd name="connsiteY18" fmla="*/ 1616075 h 4310063"/>
                  <a:gd name="connsiteX19" fmla="*/ 2509837 w 5353486"/>
                  <a:gd name="connsiteY19" fmla="*/ 1735138 h 4310063"/>
                  <a:gd name="connsiteX20" fmla="*/ 3462337 w 5353486"/>
                  <a:gd name="connsiteY20" fmla="*/ 1735138 h 4310063"/>
                  <a:gd name="connsiteX21" fmla="*/ 3462337 w 5353486"/>
                  <a:gd name="connsiteY21" fmla="*/ 1616075 h 4310063"/>
                  <a:gd name="connsiteX22" fmla="*/ 2509837 w 5353486"/>
                  <a:gd name="connsiteY22" fmla="*/ 1616075 h 4310063"/>
                  <a:gd name="connsiteX23" fmla="*/ 288925 w 5353486"/>
                  <a:gd name="connsiteY23" fmla="*/ 1616075 h 4310063"/>
                  <a:gd name="connsiteX24" fmla="*/ 288925 w 5353486"/>
                  <a:gd name="connsiteY24" fmla="*/ 1735138 h 4310063"/>
                  <a:gd name="connsiteX25" fmla="*/ 1244600 w 5353486"/>
                  <a:gd name="connsiteY25" fmla="*/ 1735138 h 4310063"/>
                  <a:gd name="connsiteX26" fmla="*/ 1244600 w 5353486"/>
                  <a:gd name="connsiteY26" fmla="*/ 1616075 h 4310063"/>
                  <a:gd name="connsiteX27" fmla="*/ 288925 w 5353486"/>
                  <a:gd name="connsiteY27" fmla="*/ 1616075 h 4310063"/>
                  <a:gd name="connsiteX28" fmla="*/ 2509837 w 5353486"/>
                  <a:gd name="connsiteY28" fmla="*/ 1301750 h 4310063"/>
                  <a:gd name="connsiteX29" fmla="*/ 2509837 w 5353486"/>
                  <a:gd name="connsiteY29" fmla="*/ 1420813 h 4310063"/>
                  <a:gd name="connsiteX30" fmla="*/ 3462337 w 5353486"/>
                  <a:gd name="connsiteY30" fmla="*/ 1420813 h 4310063"/>
                  <a:gd name="connsiteX31" fmla="*/ 3462337 w 5353486"/>
                  <a:gd name="connsiteY31" fmla="*/ 1301750 h 4310063"/>
                  <a:gd name="connsiteX32" fmla="*/ 2509837 w 5353486"/>
                  <a:gd name="connsiteY32" fmla="*/ 1301750 h 4310063"/>
                  <a:gd name="connsiteX33" fmla="*/ 288925 w 5353486"/>
                  <a:gd name="connsiteY33" fmla="*/ 1301750 h 4310063"/>
                  <a:gd name="connsiteX34" fmla="*/ 288925 w 5353486"/>
                  <a:gd name="connsiteY34" fmla="*/ 1420813 h 4310063"/>
                  <a:gd name="connsiteX35" fmla="*/ 1244600 w 5353486"/>
                  <a:gd name="connsiteY35" fmla="*/ 1420813 h 4310063"/>
                  <a:gd name="connsiteX36" fmla="*/ 1244600 w 5353486"/>
                  <a:gd name="connsiteY36" fmla="*/ 1301750 h 4310063"/>
                  <a:gd name="connsiteX37" fmla="*/ 288925 w 5353486"/>
                  <a:gd name="connsiteY37" fmla="*/ 1301750 h 4310063"/>
                  <a:gd name="connsiteX38" fmla="*/ 2703501 w 5353486"/>
                  <a:gd name="connsiteY38" fmla="*/ 1101725 h 4310063"/>
                  <a:gd name="connsiteX39" fmla="*/ 3360846 w 5353486"/>
                  <a:gd name="connsiteY39" fmla="*/ 1101725 h 4310063"/>
                  <a:gd name="connsiteX40" fmla="*/ 3679108 w 5353486"/>
                  <a:gd name="connsiteY40" fmla="*/ 1313215 h 4310063"/>
                  <a:gd name="connsiteX41" fmla="*/ 3786187 w 5353486"/>
                  <a:gd name="connsiteY41" fmla="*/ 1447258 h 4310063"/>
                  <a:gd name="connsiteX42" fmla="*/ 3786187 w 5353486"/>
                  <a:gd name="connsiteY42" fmla="*/ 1894067 h 4310063"/>
                  <a:gd name="connsiteX43" fmla="*/ 3759417 w 5353486"/>
                  <a:gd name="connsiteY43" fmla="*/ 1920875 h 4310063"/>
                  <a:gd name="connsiteX44" fmla="*/ 2138362 w 5353486"/>
                  <a:gd name="connsiteY44" fmla="*/ 1920875 h 4310063"/>
                  <a:gd name="connsiteX45" fmla="*/ 2162158 w 5353486"/>
                  <a:gd name="connsiteY45" fmla="*/ 1736194 h 4310063"/>
                  <a:gd name="connsiteX46" fmla="*/ 2370366 w 5353486"/>
                  <a:gd name="connsiteY46" fmla="*/ 1736194 h 4310063"/>
                  <a:gd name="connsiteX47" fmla="*/ 2370366 w 5353486"/>
                  <a:gd name="connsiteY47" fmla="*/ 1617045 h 4310063"/>
                  <a:gd name="connsiteX48" fmla="*/ 2197851 w 5353486"/>
                  <a:gd name="connsiteY48" fmla="*/ 1617045 h 4310063"/>
                  <a:gd name="connsiteX49" fmla="*/ 2298981 w 5353486"/>
                  <a:gd name="connsiteY49" fmla="*/ 1420449 h 4310063"/>
                  <a:gd name="connsiteX50" fmla="*/ 2370366 w 5353486"/>
                  <a:gd name="connsiteY50" fmla="*/ 1420449 h 4310063"/>
                  <a:gd name="connsiteX51" fmla="*/ 2370366 w 5353486"/>
                  <a:gd name="connsiteY51" fmla="*/ 1331087 h 4310063"/>
                  <a:gd name="connsiteX52" fmla="*/ 2414983 w 5353486"/>
                  <a:gd name="connsiteY52" fmla="*/ 1289385 h 4310063"/>
                  <a:gd name="connsiteX53" fmla="*/ 2703501 w 5353486"/>
                  <a:gd name="connsiteY53" fmla="*/ 1101725 h 4310063"/>
                  <a:gd name="connsiteX54" fmla="*/ 288925 w 5353486"/>
                  <a:gd name="connsiteY54" fmla="*/ 979487 h 4310063"/>
                  <a:gd name="connsiteX55" fmla="*/ 288925 w 5353486"/>
                  <a:gd name="connsiteY55" fmla="*/ 1098550 h 4310063"/>
                  <a:gd name="connsiteX56" fmla="*/ 1244600 w 5353486"/>
                  <a:gd name="connsiteY56" fmla="*/ 1098550 h 4310063"/>
                  <a:gd name="connsiteX57" fmla="*/ 1244600 w 5353486"/>
                  <a:gd name="connsiteY57" fmla="*/ 979487 h 4310063"/>
                  <a:gd name="connsiteX58" fmla="*/ 288925 w 5353486"/>
                  <a:gd name="connsiteY58" fmla="*/ 979487 h 4310063"/>
                  <a:gd name="connsiteX59" fmla="*/ 1417637 w 5353486"/>
                  <a:gd name="connsiteY59" fmla="*/ 663575 h 4310063"/>
                  <a:gd name="connsiteX60" fmla="*/ 1417637 w 5353486"/>
                  <a:gd name="connsiteY60" fmla="*/ 782638 h 4310063"/>
                  <a:gd name="connsiteX61" fmla="*/ 2370137 w 5353486"/>
                  <a:gd name="connsiteY61" fmla="*/ 782638 h 4310063"/>
                  <a:gd name="connsiteX62" fmla="*/ 2370137 w 5353486"/>
                  <a:gd name="connsiteY62" fmla="*/ 663575 h 4310063"/>
                  <a:gd name="connsiteX63" fmla="*/ 1417637 w 5353486"/>
                  <a:gd name="connsiteY63" fmla="*/ 663575 h 4310063"/>
                  <a:gd name="connsiteX64" fmla="*/ 288925 w 5353486"/>
                  <a:gd name="connsiteY64" fmla="*/ 663575 h 4310063"/>
                  <a:gd name="connsiteX65" fmla="*/ 288925 w 5353486"/>
                  <a:gd name="connsiteY65" fmla="*/ 782638 h 4310063"/>
                  <a:gd name="connsiteX66" fmla="*/ 1244600 w 5353486"/>
                  <a:gd name="connsiteY66" fmla="*/ 782638 h 4310063"/>
                  <a:gd name="connsiteX67" fmla="*/ 1244600 w 5353486"/>
                  <a:gd name="connsiteY67" fmla="*/ 663575 h 4310063"/>
                  <a:gd name="connsiteX68" fmla="*/ 288925 w 5353486"/>
                  <a:gd name="connsiteY68" fmla="*/ 663575 h 4310063"/>
                  <a:gd name="connsiteX69" fmla="*/ 2572947 w 5353486"/>
                  <a:gd name="connsiteY69" fmla="*/ 182562 h 4310063"/>
                  <a:gd name="connsiteX70" fmla="*/ 2543175 w 5353486"/>
                  <a:gd name="connsiteY70" fmla="*/ 209288 h 4310063"/>
                  <a:gd name="connsiteX71" fmla="*/ 2543175 w 5353486"/>
                  <a:gd name="connsiteY71" fmla="*/ 405279 h 4310063"/>
                  <a:gd name="connsiteX72" fmla="*/ 2572947 w 5353486"/>
                  <a:gd name="connsiteY72" fmla="*/ 434975 h 4310063"/>
                  <a:gd name="connsiteX73" fmla="*/ 3472056 w 5353486"/>
                  <a:gd name="connsiteY73" fmla="*/ 434975 h 4310063"/>
                  <a:gd name="connsiteX74" fmla="*/ 3498850 w 5353486"/>
                  <a:gd name="connsiteY74" fmla="*/ 405279 h 4310063"/>
                  <a:gd name="connsiteX75" fmla="*/ 3498850 w 5353486"/>
                  <a:gd name="connsiteY75" fmla="*/ 209288 h 4310063"/>
                  <a:gd name="connsiteX76" fmla="*/ 3472056 w 5353486"/>
                  <a:gd name="connsiteY76" fmla="*/ 182562 h 4310063"/>
                  <a:gd name="connsiteX77" fmla="*/ 2572947 w 5353486"/>
                  <a:gd name="connsiteY77" fmla="*/ 182562 h 4310063"/>
                  <a:gd name="connsiteX78" fmla="*/ 1444426 w 5353486"/>
                  <a:gd name="connsiteY78" fmla="*/ 182562 h 4310063"/>
                  <a:gd name="connsiteX79" fmla="*/ 1417637 w 5353486"/>
                  <a:gd name="connsiteY79" fmla="*/ 209288 h 4310063"/>
                  <a:gd name="connsiteX80" fmla="*/ 1417637 w 5353486"/>
                  <a:gd name="connsiteY80" fmla="*/ 405279 h 4310063"/>
                  <a:gd name="connsiteX81" fmla="*/ 1444426 w 5353486"/>
                  <a:gd name="connsiteY81" fmla="*/ 434975 h 4310063"/>
                  <a:gd name="connsiteX82" fmla="*/ 2343348 w 5353486"/>
                  <a:gd name="connsiteY82" fmla="*/ 434975 h 4310063"/>
                  <a:gd name="connsiteX83" fmla="*/ 2370137 w 5353486"/>
                  <a:gd name="connsiteY83" fmla="*/ 405279 h 4310063"/>
                  <a:gd name="connsiteX84" fmla="*/ 2370137 w 5353486"/>
                  <a:gd name="connsiteY84" fmla="*/ 209288 h 4310063"/>
                  <a:gd name="connsiteX85" fmla="*/ 2343348 w 5353486"/>
                  <a:gd name="connsiteY85" fmla="*/ 182562 h 4310063"/>
                  <a:gd name="connsiteX86" fmla="*/ 1444426 w 5353486"/>
                  <a:gd name="connsiteY86" fmla="*/ 182562 h 4310063"/>
                  <a:gd name="connsiteX87" fmla="*/ 315720 w 5353486"/>
                  <a:gd name="connsiteY87" fmla="*/ 182562 h 4310063"/>
                  <a:gd name="connsiteX88" fmla="*/ 288925 w 5353486"/>
                  <a:gd name="connsiteY88" fmla="*/ 209288 h 4310063"/>
                  <a:gd name="connsiteX89" fmla="*/ 288925 w 5353486"/>
                  <a:gd name="connsiteY89" fmla="*/ 405279 h 4310063"/>
                  <a:gd name="connsiteX90" fmla="*/ 315720 w 5353486"/>
                  <a:gd name="connsiteY90" fmla="*/ 434975 h 4310063"/>
                  <a:gd name="connsiteX91" fmla="*/ 1217806 w 5353486"/>
                  <a:gd name="connsiteY91" fmla="*/ 434975 h 4310063"/>
                  <a:gd name="connsiteX92" fmla="*/ 1244600 w 5353486"/>
                  <a:gd name="connsiteY92" fmla="*/ 405279 h 4310063"/>
                  <a:gd name="connsiteX93" fmla="*/ 1244600 w 5353486"/>
                  <a:gd name="connsiteY93" fmla="*/ 209288 h 4310063"/>
                  <a:gd name="connsiteX94" fmla="*/ 1217806 w 5353486"/>
                  <a:gd name="connsiteY94" fmla="*/ 182562 h 4310063"/>
                  <a:gd name="connsiteX95" fmla="*/ 315720 w 5353486"/>
                  <a:gd name="connsiteY95" fmla="*/ 182562 h 4310063"/>
                  <a:gd name="connsiteX96" fmla="*/ 26789 w 5353486"/>
                  <a:gd name="connsiteY96" fmla="*/ 0 h 4310063"/>
                  <a:gd name="connsiteX97" fmla="*/ 3759399 w 5353486"/>
                  <a:gd name="connsiteY97" fmla="*/ 0 h 4310063"/>
                  <a:gd name="connsiteX98" fmla="*/ 3786188 w 5353486"/>
                  <a:gd name="connsiteY98" fmla="*/ 26803 h 4310063"/>
                  <a:gd name="connsiteX99" fmla="*/ 3786188 w 5353486"/>
                  <a:gd name="connsiteY99" fmla="*/ 884496 h 4310063"/>
                  <a:gd name="connsiteX100" fmla="*/ 3461743 w 5353486"/>
                  <a:gd name="connsiteY100" fmla="*/ 717722 h 4310063"/>
                  <a:gd name="connsiteX101" fmla="*/ 3461743 w 5353486"/>
                  <a:gd name="connsiteY101" fmla="*/ 664117 h 4310063"/>
                  <a:gd name="connsiteX102" fmla="*/ 3247430 w 5353486"/>
                  <a:gd name="connsiteY102" fmla="*/ 664117 h 4310063"/>
                  <a:gd name="connsiteX103" fmla="*/ 3033118 w 5353486"/>
                  <a:gd name="connsiteY103" fmla="*/ 646248 h 4310063"/>
                  <a:gd name="connsiteX104" fmla="*/ 2821782 w 5353486"/>
                  <a:gd name="connsiteY104" fmla="*/ 664117 h 4310063"/>
                  <a:gd name="connsiteX105" fmla="*/ 2506266 w 5353486"/>
                  <a:gd name="connsiteY105" fmla="*/ 664117 h 4310063"/>
                  <a:gd name="connsiteX106" fmla="*/ 2506266 w 5353486"/>
                  <a:gd name="connsiteY106" fmla="*/ 756438 h 4310063"/>
                  <a:gd name="connsiteX107" fmla="*/ 2163961 w 5353486"/>
                  <a:gd name="connsiteY107" fmla="*/ 979795 h 4310063"/>
                  <a:gd name="connsiteX108" fmla="*/ 1416844 w 5353486"/>
                  <a:gd name="connsiteY108" fmla="*/ 979795 h 4310063"/>
                  <a:gd name="connsiteX109" fmla="*/ 1416844 w 5353486"/>
                  <a:gd name="connsiteY109" fmla="*/ 1098919 h 4310063"/>
                  <a:gd name="connsiteX110" fmla="*/ 2047875 w 5353486"/>
                  <a:gd name="connsiteY110" fmla="*/ 1098919 h 4310063"/>
                  <a:gd name="connsiteX111" fmla="*/ 1910954 w 5353486"/>
                  <a:gd name="connsiteY111" fmla="*/ 1301430 h 4310063"/>
                  <a:gd name="connsiteX112" fmla="*/ 1416844 w 5353486"/>
                  <a:gd name="connsiteY112" fmla="*/ 1301430 h 4310063"/>
                  <a:gd name="connsiteX113" fmla="*/ 1416844 w 5353486"/>
                  <a:gd name="connsiteY113" fmla="*/ 1420554 h 4310063"/>
                  <a:gd name="connsiteX114" fmla="*/ 1848446 w 5353486"/>
                  <a:gd name="connsiteY114" fmla="*/ 1420554 h 4310063"/>
                  <a:gd name="connsiteX115" fmla="*/ 1782961 w 5353486"/>
                  <a:gd name="connsiteY115" fmla="*/ 1617109 h 4310063"/>
                  <a:gd name="connsiteX116" fmla="*/ 1416844 w 5353486"/>
                  <a:gd name="connsiteY116" fmla="*/ 1617109 h 4310063"/>
                  <a:gd name="connsiteX117" fmla="*/ 1416844 w 5353486"/>
                  <a:gd name="connsiteY117" fmla="*/ 1736233 h 4310063"/>
                  <a:gd name="connsiteX118" fmla="*/ 1759149 w 5353486"/>
                  <a:gd name="connsiteY118" fmla="*/ 1736233 h 4310063"/>
                  <a:gd name="connsiteX119" fmla="*/ 1744266 w 5353486"/>
                  <a:gd name="connsiteY119" fmla="*/ 1920875 h 4310063"/>
                  <a:gd name="connsiteX120" fmla="*/ 26789 w 5353486"/>
                  <a:gd name="connsiteY120" fmla="*/ 1920875 h 4310063"/>
                  <a:gd name="connsiteX121" fmla="*/ 0 w 5353486"/>
                  <a:gd name="connsiteY121" fmla="*/ 1894072 h 4310063"/>
                  <a:gd name="connsiteX122" fmla="*/ 0 w 5353486"/>
                  <a:gd name="connsiteY122" fmla="*/ 26803 h 4310063"/>
                  <a:gd name="connsiteX123" fmla="*/ 26789 w 5353486"/>
                  <a:gd name="connsiteY123" fmla="*/ 0 h 4310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5353486" h="4310063">
                    <a:moveTo>
                      <a:pt x="4426759" y="3108325"/>
                    </a:moveTo>
                    <a:cubicBezTo>
                      <a:pt x="4179889" y="3349339"/>
                      <a:pt x="4179889" y="3349339"/>
                      <a:pt x="4179889" y="3349339"/>
                    </a:cubicBezTo>
                    <a:cubicBezTo>
                      <a:pt x="4979985" y="4188424"/>
                      <a:pt x="4979985" y="4188424"/>
                      <a:pt x="4979985" y="4188424"/>
                    </a:cubicBezTo>
                    <a:cubicBezTo>
                      <a:pt x="4988908" y="4197350"/>
                      <a:pt x="5066241" y="4188424"/>
                      <a:pt x="5146548" y="4111061"/>
                    </a:cubicBezTo>
                    <a:cubicBezTo>
                      <a:pt x="5185214" y="4075356"/>
                      <a:pt x="5211983" y="4033699"/>
                      <a:pt x="5226855" y="3997993"/>
                    </a:cubicBezTo>
                    <a:cubicBezTo>
                      <a:pt x="5238752" y="3968238"/>
                      <a:pt x="5232804" y="3950386"/>
                      <a:pt x="5229829" y="3947410"/>
                    </a:cubicBezTo>
                    <a:cubicBezTo>
                      <a:pt x="4426759" y="3108325"/>
                      <a:pt x="4426759" y="3108325"/>
                      <a:pt x="4426759" y="3108325"/>
                    </a:cubicBezTo>
                    <a:close/>
                    <a:moveTo>
                      <a:pt x="4429524" y="2965450"/>
                    </a:moveTo>
                    <a:cubicBezTo>
                      <a:pt x="4447383" y="2965450"/>
                      <a:pt x="4462266" y="2971400"/>
                      <a:pt x="4474172" y="2983299"/>
                    </a:cubicBezTo>
                    <a:cubicBezTo>
                      <a:pt x="5316539" y="3863842"/>
                      <a:pt x="5316539" y="3863842"/>
                      <a:pt x="5316539" y="3863842"/>
                    </a:cubicBezTo>
                    <a:cubicBezTo>
                      <a:pt x="5355234" y="3905489"/>
                      <a:pt x="5364164" y="3967960"/>
                      <a:pt x="5340352" y="4033406"/>
                    </a:cubicBezTo>
                    <a:cubicBezTo>
                      <a:pt x="5322492" y="4089927"/>
                      <a:pt x="5280820" y="4149424"/>
                      <a:pt x="5230219" y="4197021"/>
                    </a:cubicBezTo>
                    <a:cubicBezTo>
                      <a:pt x="5152828" y="4271391"/>
                      <a:pt x="5069485" y="4310063"/>
                      <a:pt x="4998047" y="4310063"/>
                    </a:cubicBezTo>
                    <a:cubicBezTo>
                      <a:pt x="4956375" y="4310063"/>
                      <a:pt x="4920656" y="4295189"/>
                      <a:pt x="4893867" y="4268416"/>
                    </a:cubicBezTo>
                    <a:cubicBezTo>
                      <a:pt x="4051500" y="3387873"/>
                      <a:pt x="4051500" y="3387873"/>
                      <a:pt x="4051500" y="3387873"/>
                    </a:cubicBezTo>
                    <a:cubicBezTo>
                      <a:pt x="4030664" y="3364074"/>
                      <a:pt x="4030664" y="3328377"/>
                      <a:pt x="4051500" y="3304578"/>
                    </a:cubicBezTo>
                    <a:cubicBezTo>
                      <a:pt x="4387852" y="2980324"/>
                      <a:pt x="4387852" y="2980324"/>
                      <a:pt x="4387852" y="2980324"/>
                    </a:cubicBezTo>
                    <a:cubicBezTo>
                      <a:pt x="4399758" y="2968425"/>
                      <a:pt x="4414641" y="2965450"/>
                      <a:pt x="4429524" y="2965450"/>
                    </a:cubicBezTo>
                    <a:close/>
                    <a:moveTo>
                      <a:pt x="2509837" y="1616075"/>
                    </a:moveTo>
                    <a:cubicBezTo>
                      <a:pt x="2509837" y="1616075"/>
                      <a:pt x="2509837" y="1616075"/>
                      <a:pt x="2509837" y="1735138"/>
                    </a:cubicBezTo>
                    <a:cubicBezTo>
                      <a:pt x="2509837" y="1735138"/>
                      <a:pt x="2509837" y="1735138"/>
                      <a:pt x="3462337" y="1735138"/>
                    </a:cubicBezTo>
                    <a:cubicBezTo>
                      <a:pt x="3462337" y="1735138"/>
                      <a:pt x="3462337" y="1735138"/>
                      <a:pt x="3462337" y="1616075"/>
                    </a:cubicBezTo>
                    <a:cubicBezTo>
                      <a:pt x="3462337" y="1616075"/>
                      <a:pt x="3462337" y="1616075"/>
                      <a:pt x="2509837" y="1616075"/>
                    </a:cubicBezTo>
                    <a:close/>
                    <a:moveTo>
                      <a:pt x="288925" y="1616075"/>
                    </a:moveTo>
                    <a:cubicBezTo>
                      <a:pt x="288925" y="1616075"/>
                      <a:pt x="288925" y="1616075"/>
                      <a:pt x="288925" y="1735138"/>
                    </a:cubicBezTo>
                    <a:cubicBezTo>
                      <a:pt x="288925" y="1735138"/>
                      <a:pt x="288925" y="1735138"/>
                      <a:pt x="1244600" y="1735138"/>
                    </a:cubicBezTo>
                    <a:cubicBezTo>
                      <a:pt x="1244600" y="1735138"/>
                      <a:pt x="1244600" y="1735138"/>
                      <a:pt x="1244600" y="1616075"/>
                    </a:cubicBezTo>
                    <a:cubicBezTo>
                      <a:pt x="1244600" y="1616075"/>
                      <a:pt x="1244600" y="1616075"/>
                      <a:pt x="288925" y="1616075"/>
                    </a:cubicBezTo>
                    <a:close/>
                    <a:moveTo>
                      <a:pt x="2509837" y="1301750"/>
                    </a:moveTo>
                    <a:cubicBezTo>
                      <a:pt x="2509837" y="1301750"/>
                      <a:pt x="2509837" y="1301750"/>
                      <a:pt x="2509837" y="1420813"/>
                    </a:cubicBezTo>
                    <a:cubicBezTo>
                      <a:pt x="2509837" y="1420813"/>
                      <a:pt x="2509837" y="1420813"/>
                      <a:pt x="3462337" y="1420813"/>
                    </a:cubicBezTo>
                    <a:cubicBezTo>
                      <a:pt x="3462337" y="1420813"/>
                      <a:pt x="3462337" y="1420813"/>
                      <a:pt x="3462337" y="1301750"/>
                    </a:cubicBezTo>
                    <a:cubicBezTo>
                      <a:pt x="3462337" y="1301750"/>
                      <a:pt x="3462337" y="1301750"/>
                      <a:pt x="2509837" y="1301750"/>
                    </a:cubicBezTo>
                    <a:close/>
                    <a:moveTo>
                      <a:pt x="288925" y="1301750"/>
                    </a:moveTo>
                    <a:cubicBezTo>
                      <a:pt x="288925" y="1301750"/>
                      <a:pt x="288925" y="1301750"/>
                      <a:pt x="288925" y="1420813"/>
                    </a:cubicBezTo>
                    <a:cubicBezTo>
                      <a:pt x="288925" y="1420813"/>
                      <a:pt x="288925" y="1420813"/>
                      <a:pt x="1244600" y="1420813"/>
                    </a:cubicBezTo>
                    <a:cubicBezTo>
                      <a:pt x="1244600" y="1420813"/>
                      <a:pt x="1244600" y="1420813"/>
                      <a:pt x="1244600" y="1301750"/>
                    </a:cubicBezTo>
                    <a:cubicBezTo>
                      <a:pt x="1244600" y="1301750"/>
                      <a:pt x="1244600" y="1301750"/>
                      <a:pt x="288925" y="1301750"/>
                    </a:cubicBezTo>
                    <a:close/>
                    <a:moveTo>
                      <a:pt x="2703501" y="1101725"/>
                    </a:moveTo>
                    <a:cubicBezTo>
                      <a:pt x="2703501" y="1101725"/>
                      <a:pt x="2703501" y="1101725"/>
                      <a:pt x="3360846" y="1101725"/>
                    </a:cubicBezTo>
                    <a:cubicBezTo>
                      <a:pt x="3479823" y="1149385"/>
                      <a:pt x="3586901" y="1217895"/>
                      <a:pt x="3679108" y="1313215"/>
                    </a:cubicBezTo>
                    <a:cubicBezTo>
                      <a:pt x="3720750" y="1354917"/>
                      <a:pt x="3756443" y="1402577"/>
                      <a:pt x="3786187" y="1447258"/>
                    </a:cubicBezTo>
                    <a:cubicBezTo>
                      <a:pt x="3786187" y="1447258"/>
                      <a:pt x="3786187" y="1447258"/>
                      <a:pt x="3786187" y="1894067"/>
                    </a:cubicBezTo>
                    <a:cubicBezTo>
                      <a:pt x="3786187" y="1905982"/>
                      <a:pt x="3774290" y="1920875"/>
                      <a:pt x="3759417" y="1920875"/>
                    </a:cubicBezTo>
                    <a:cubicBezTo>
                      <a:pt x="3759417" y="1920875"/>
                      <a:pt x="3759417" y="1920875"/>
                      <a:pt x="2138362" y="1920875"/>
                    </a:cubicBezTo>
                    <a:cubicBezTo>
                      <a:pt x="2138362" y="1858322"/>
                      <a:pt x="2147285" y="1795769"/>
                      <a:pt x="2162158" y="1736194"/>
                    </a:cubicBezTo>
                    <a:cubicBezTo>
                      <a:pt x="2162158" y="1736194"/>
                      <a:pt x="2162158" y="1736194"/>
                      <a:pt x="2370366" y="1736194"/>
                    </a:cubicBezTo>
                    <a:cubicBezTo>
                      <a:pt x="2370366" y="1736194"/>
                      <a:pt x="2370366" y="1736194"/>
                      <a:pt x="2370366" y="1617045"/>
                    </a:cubicBezTo>
                    <a:cubicBezTo>
                      <a:pt x="2370366" y="1617045"/>
                      <a:pt x="2370366" y="1617045"/>
                      <a:pt x="2197851" y="1617045"/>
                    </a:cubicBezTo>
                    <a:cubicBezTo>
                      <a:pt x="2221646" y="1548534"/>
                      <a:pt x="2257339" y="1483002"/>
                      <a:pt x="2298981" y="1420449"/>
                    </a:cubicBezTo>
                    <a:cubicBezTo>
                      <a:pt x="2298981" y="1420449"/>
                      <a:pt x="2298981" y="1420449"/>
                      <a:pt x="2370366" y="1420449"/>
                    </a:cubicBezTo>
                    <a:cubicBezTo>
                      <a:pt x="2370366" y="1420449"/>
                      <a:pt x="2370366" y="1420449"/>
                      <a:pt x="2370366" y="1331087"/>
                    </a:cubicBezTo>
                    <a:cubicBezTo>
                      <a:pt x="2385239" y="1319172"/>
                      <a:pt x="2397136" y="1301300"/>
                      <a:pt x="2414983" y="1289385"/>
                    </a:cubicBezTo>
                    <a:cubicBezTo>
                      <a:pt x="2498266" y="1208959"/>
                      <a:pt x="2599396" y="1146406"/>
                      <a:pt x="2703501" y="1101725"/>
                    </a:cubicBezTo>
                    <a:close/>
                    <a:moveTo>
                      <a:pt x="288925" y="979487"/>
                    </a:moveTo>
                    <a:cubicBezTo>
                      <a:pt x="288925" y="979487"/>
                      <a:pt x="288925" y="979487"/>
                      <a:pt x="288925" y="1098550"/>
                    </a:cubicBezTo>
                    <a:cubicBezTo>
                      <a:pt x="288925" y="1098550"/>
                      <a:pt x="288925" y="1098550"/>
                      <a:pt x="1244600" y="1098550"/>
                    </a:cubicBezTo>
                    <a:cubicBezTo>
                      <a:pt x="1244600" y="1098550"/>
                      <a:pt x="1244600" y="1098550"/>
                      <a:pt x="1244600" y="979487"/>
                    </a:cubicBezTo>
                    <a:cubicBezTo>
                      <a:pt x="1244600" y="979487"/>
                      <a:pt x="1244600" y="979487"/>
                      <a:pt x="288925" y="979487"/>
                    </a:cubicBezTo>
                    <a:close/>
                    <a:moveTo>
                      <a:pt x="1417637" y="663575"/>
                    </a:moveTo>
                    <a:cubicBezTo>
                      <a:pt x="1417637" y="663575"/>
                      <a:pt x="1417637" y="663575"/>
                      <a:pt x="1417637" y="782638"/>
                    </a:cubicBezTo>
                    <a:cubicBezTo>
                      <a:pt x="1417637" y="782638"/>
                      <a:pt x="1417637" y="782638"/>
                      <a:pt x="2370137" y="782638"/>
                    </a:cubicBezTo>
                    <a:cubicBezTo>
                      <a:pt x="2370137" y="782638"/>
                      <a:pt x="2370137" y="782638"/>
                      <a:pt x="2370137" y="663575"/>
                    </a:cubicBezTo>
                    <a:cubicBezTo>
                      <a:pt x="2370137" y="663575"/>
                      <a:pt x="2370137" y="663575"/>
                      <a:pt x="1417637" y="663575"/>
                    </a:cubicBezTo>
                    <a:close/>
                    <a:moveTo>
                      <a:pt x="288925" y="663575"/>
                    </a:moveTo>
                    <a:cubicBezTo>
                      <a:pt x="288925" y="663575"/>
                      <a:pt x="288925" y="663575"/>
                      <a:pt x="288925" y="782638"/>
                    </a:cubicBezTo>
                    <a:cubicBezTo>
                      <a:pt x="288925" y="782638"/>
                      <a:pt x="288925" y="782638"/>
                      <a:pt x="1244600" y="782638"/>
                    </a:cubicBezTo>
                    <a:cubicBezTo>
                      <a:pt x="1244600" y="782638"/>
                      <a:pt x="1244600" y="782638"/>
                      <a:pt x="1244600" y="663575"/>
                    </a:cubicBezTo>
                    <a:cubicBezTo>
                      <a:pt x="1244600" y="663575"/>
                      <a:pt x="1244600" y="663575"/>
                      <a:pt x="288925" y="663575"/>
                    </a:cubicBezTo>
                    <a:close/>
                    <a:moveTo>
                      <a:pt x="2572947" y="182562"/>
                    </a:moveTo>
                    <a:cubicBezTo>
                      <a:pt x="2555084" y="182562"/>
                      <a:pt x="2543175" y="194440"/>
                      <a:pt x="2543175" y="209288"/>
                    </a:cubicBezTo>
                    <a:cubicBezTo>
                      <a:pt x="2543175" y="209288"/>
                      <a:pt x="2543175" y="209288"/>
                      <a:pt x="2543175" y="405279"/>
                    </a:cubicBezTo>
                    <a:cubicBezTo>
                      <a:pt x="2543175" y="423097"/>
                      <a:pt x="2555084" y="434975"/>
                      <a:pt x="2572947" y="434975"/>
                    </a:cubicBezTo>
                    <a:cubicBezTo>
                      <a:pt x="2572947" y="434975"/>
                      <a:pt x="2572947" y="434975"/>
                      <a:pt x="3472056" y="434975"/>
                    </a:cubicBezTo>
                    <a:cubicBezTo>
                      <a:pt x="3483964" y="434975"/>
                      <a:pt x="3498850" y="423097"/>
                      <a:pt x="3498850" y="405279"/>
                    </a:cubicBezTo>
                    <a:cubicBezTo>
                      <a:pt x="3498850" y="405279"/>
                      <a:pt x="3498850" y="405279"/>
                      <a:pt x="3498850" y="209288"/>
                    </a:cubicBezTo>
                    <a:cubicBezTo>
                      <a:pt x="3498850" y="194440"/>
                      <a:pt x="3483964" y="182562"/>
                      <a:pt x="3472056" y="182562"/>
                    </a:cubicBezTo>
                    <a:cubicBezTo>
                      <a:pt x="3472056" y="182562"/>
                      <a:pt x="3472056" y="182562"/>
                      <a:pt x="2572947" y="182562"/>
                    </a:cubicBezTo>
                    <a:close/>
                    <a:moveTo>
                      <a:pt x="1444426" y="182562"/>
                    </a:moveTo>
                    <a:cubicBezTo>
                      <a:pt x="1429543" y="182562"/>
                      <a:pt x="1417637" y="194440"/>
                      <a:pt x="1417637" y="209288"/>
                    </a:cubicBezTo>
                    <a:cubicBezTo>
                      <a:pt x="1417637" y="209288"/>
                      <a:pt x="1417637" y="209288"/>
                      <a:pt x="1417637" y="405279"/>
                    </a:cubicBezTo>
                    <a:cubicBezTo>
                      <a:pt x="1417637" y="423097"/>
                      <a:pt x="1429543" y="434975"/>
                      <a:pt x="1444426" y="434975"/>
                    </a:cubicBezTo>
                    <a:cubicBezTo>
                      <a:pt x="1444426" y="434975"/>
                      <a:pt x="1444426" y="434975"/>
                      <a:pt x="2343348" y="434975"/>
                    </a:cubicBezTo>
                    <a:cubicBezTo>
                      <a:pt x="2358231" y="434975"/>
                      <a:pt x="2370137" y="423097"/>
                      <a:pt x="2370137" y="405279"/>
                    </a:cubicBezTo>
                    <a:cubicBezTo>
                      <a:pt x="2370137" y="405279"/>
                      <a:pt x="2370137" y="405279"/>
                      <a:pt x="2370137" y="209288"/>
                    </a:cubicBezTo>
                    <a:cubicBezTo>
                      <a:pt x="2370137" y="194440"/>
                      <a:pt x="2358231" y="182562"/>
                      <a:pt x="2343348" y="182562"/>
                    </a:cubicBezTo>
                    <a:cubicBezTo>
                      <a:pt x="2343348" y="182562"/>
                      <a:pt x="2343348" y="182562"/>
                      <a:pt x="1444426" y="182562"/>
                    </a:cubicBezTo>
                    <a:close/>
                    <a:moveTo>
                      <a:pt x="315720" y="182562"/>
                    </a:moveTo>
                    <a:cubicBezTo>
                      <a:pt x="303811" y="182562"/>
                      <a:pt x="288925" y="194440"/>
                      <a:pt x="288925" y="209288"/>
                    </a:cubicBezTo>
                    <a:cubicBezTo>
                      <a:pt x="288925" y="209288"/>
                      <a:pt x="288925" y="209288"/>
                      <a:pt x="288925" y="405279"/>
                    </a:cubicBezTo>
                    <a:cubicBezTo>
                      <a:pt x="288925" y="423097"/>
                      <a:pt x="303811" y="434975"/>
                      <a:pt x="315720" y="434975"/>
                    </a:cubicBezTo>
                    <a:cubicBezTo>
                      <a:pt x="315720" y="434975"/>
                      <a:pt x="315720" y="434975"/>
                      <a:pt x="1217806" y="434975"/>
                    </a:cubicBezTo>
                    <a:cubicBezTo>
                      <a:pt x="1229714" y="434975"/>
                      <a:pt x="1244600" y="423097"/>
                      <a:pt x="1244600" y="405279"/>
                    </a:cubicBezTo>
                    <a:cubicBezTo>
                      <a:pt x="1244600" y="405279"/>
                      <a:pt x="1244600" y="405279"/>
                      <a:pt x="1244600" y="209288"/>
                    </a:cubicBezTo>
                    <a:cubicBezTo>
                      <a:pt x="1244600" y="194440"/>
                      <a:pt x="1229714" y="182562"/>
                      <a:pt x="1217806" y="182562"/>
                    </a:cubicBezTo>
                    <a:cubicBezTo>
                      <a:pt x="1217806" y="182562"/>
                      <a:pt x="1217806" y="182562"/>
                      <a:pt x="315720" y="182562"/>
                    </a:cubicBezTo>
                    <a:close/>
                    <a:moveTo>
                      <a:pt x="26789" y="0"/>
                    </a:moveTo>
                    <a:cubicBezTo>
                      <a:pt x="26789" y="0"/>
                      <a:pt x="26789" y="0"/>
                      <a:pt x="3759399" y="0"/>
                    </a:cubicBezTo>
                    <a:cubicBezTo>
                      <a:pt x="3774282" y="0"/>
                      <a:pt x="3786188" y="11912"/>
                      <a:pt x="3786188" y="26803"/>
                    </a:cubicBezTo>
                    <a:cubicBezTo>
                      <a:pt x="3786188" y="26803"/>
                      <a:pt x="3786188" y="26803"/>
                      <a:pt x="3786188" y="884496"/>
                    </a:cubicBezTo>
                    <a:cubicBezTo>
                      <a:pt x="3687962" y="813022"/>
                      <a:pt x="3574852" y="759416"/>
                      <a:pt x="3461743" y="717722"/>
                    </a:cubicBezTo>
                    <a:cubicBezTo>
                      <a:pt x="3461743" y="717722"/>
                      <a:pt x="3461743" y="717722"/>
                      <a:pt x="3461743" y="664117"/>
                    </a:cubicBezTo>
                    <a:cubicBezTo>
                      <a:pt x="3461743" y="664117"/>
                      <a:pt x="3461743" y="664117"/>
                      <a:pt x="3247430" y="664117"/>
                    </a:cubicBezTo>
                    <a:cubicBezTo>
                      <a:pt x="3175993" y="649226"/>
                      <a:pt x="3104555" y="646248"/>
                      <a:pt x="3033118" y="646248"/>
                    </a:cubicBezTo>
                    <a:cubicBezTo>
                      <a:pt x="2961680" y="646248"/>
                      <a:pt x="2890243" y="649226"/>
                      <a:pt x="2821782" y="664117"/>
                    </a:cubicBezTo>
                    <a:cubicBezTo>
                      <a:pt x="2821782" y="664117"/>
                      <a:pt x="2821782" y="664117"/>
                      <a:pt x="2506266" y="664117"/>
                    </a:cubicBezTo>
                    <a:cubicBezTo>
                      <a:pt x="2506266" y="664117"/>
                      <a:pt x="2506266" y="664117"/>
                      <a:pt x="2506266" y="756438"/>
                    </a:cubicBezTo>
                    <a:cubicBezTo>
                      <a:pt x="2381250" y="810044"/>
                      <a:pt x="2265164" y="884496"/>
                      <a:pt x="2163961" y="979795"/>
                    </a:cubicBezTo>
                    <a:cubicBezTo>
                      <a:pt x="2163961" y="979795"/>
                      <a:pt x="2163961" y="979795"/>
                      <a:pt x="1416844" y="979795"/>
                    </a:cubicBezTo>
                    <a:cubicBezTo>
                      <a:pt x="1416844" y="979795"/>
                      <a:pt x="1416844" y="979795"/>
                      <a:pt x="1416844" y="1098919"/>
                    </a:cubicBezTo>
                    <a:cubicBezTo>
                      <a:pt x="1416844" y="1098919"/>
                      <a:pt x="1416844" y="1098919"/>
                      <a:pt x="2047875" y="1098919"/>
                    </a:cubicBezTo>
                    <a:cubicBezTo>
                      <a:pt x="1994297" y="1161459"/>
                      <a:pt x="1946672" y="1229956"/>
                      <a:pt x="1910954" y="1301430"/>
                    </a:cubicBezTo>
                    <a:cubicBezTo>
                      <a:pt x="1910954" y="1301430"/>
                      <a:pt x="1910954" y="1301430"/>
                      <a:pt x="1416844" y="1301430"/>
                    </a:cubicBezTo>
                    <a:cubicBezTo>
                      <a:pt x="1416844" y="1301430"/>
                      <a:pt x="1416844" y="1301430"/>
                      <a:pt x="1416844" y="1420554"/>
                    </a:cubicBezTo>
                    <a:cubicBezTo>
                      <a:pt x="1416844" y="1420554"/>
                      <a:pt x="1416844" y="1420554"/>
                      <a:pt x="1848446" y="1420554"/>
                    </a:cubicBezTo>
                    <a:cubicBezTo>
                      <a:pt x="1821657" y="1486072"/>
                      <a:pt x="1800821" y="1548613"/>
                      <a:pt x="1782961" y="1617109"/>
                    </a:cubicBezTo>
                    <a:cubicBezTo>
                      <a:pt x="1782961" y="1617109"/>
                      <a:pt x="1782961" y="1617109"/>
                      <a:pt x="1416844" y="1617109"/>
                    </a:cubicBezTo>
                    <a:cubicBezTo>
                      <a:pt x="1416844" y="1617109"/>
                      <a:pt x="1416844" y="1617109"/>
                      <a:pt x="1416844" y="1736233"/>
                    </a:cubicBezTo>
                    <a:cubicBezTo>
                      <a:pt x="1416844" y="1736233"/>
                      <a:pt x="1416844" y="1736233"/>
                      <a:pt x="1759149" y="1736233"/>
                    </a:cubicBezTo>
                    <a:cubicBezTo>
                      <a:pt x="1750219" y="1795795"/>
                      <a:pt x="1744266" y="1858335"/>
                      <a:pt x="1744266" y="1920875"/>
                    </a:cubicBezTo>
                    <a:cubicBezTo>
                      <a:pt x="1744266" y="1920875"/>
                      <a:pt x="1744266" y="1920875"/>
                      <a:pt x="26789" y="1920875"/>
                    </a:cubicBezTo>
                    <a:cubicBezTo>
                      <a:pt x="11906" y="1920875"/>
                      <a:pt x="0" y="1905985"/>
                      <a:pt x="0" y="1894072"/>
                    </a:cubicBezTo>
                    <a:cubicBezTo>
                      <a:pt x="0" y="1894072"/>
                      <a:pt x="0" y="1894072"/>
                      <a:pt x="0" y="26803"/>
                    </a:cubicBezTo>
                    <a:cubicBezTo>
                      <a:pt x="0" y="11912"/>
                      <a:pt x="11906" y="0"/>
                      <a:pt x="26789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37" name="Gleichschenkliges Dreieck 36">
            <a:extLst>
              <a:ext uri="{FF2B5EF4-FFF2-40B4-BE49-F238E27FC236}">
                <a16:creationId xmlns:a16="http://schemas.microsoft.com/office/drawing/2014/main" id="{E6E8595B-7D99-FE70-D480-25BAFA785FCC}"/>
              </a:ext>
            </a:extLst>
          </p:cNvPr>
          <p:cNvSpPr/>
          <p:nvPr/>
        </p:nvSpPr>
        <p:spPr>
          <a:xfrm>
            <a:off x="5761538" y="3764823"/>
            <a:ext cx="1329921" cy="1037201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34" name="Grafik 21">
            <a:extLst>
              <a:ext uri="{FF2B5EF4-FFF2-40B4-BE49-F238E27FC236}">
                <a16:creationId xmlns:a16="http://schemas.microsoft.com/office/drawing/2014/main" id="{942C03C2-B937-E106-D905-38C18E3EDF1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37890" y="4327063"/>
            <a:ext cx="631820" cy="631000"/>
          </a:xfrm>
          <a:prstGeom prst="rect">
            <a:avLst/>
          </a:prstGeom>
        </p:spPr>
      </p:pic>
      <p:pic>
        <p:nvPicPr>
          <p:cNvPr id="17" name="Grafik 18">
            <a:extLst>
              <a:ext uri="{FF2B5EF4-FFF2-40B4-BE49-F238E27FC236}">
                <a16:creationId xmlns:a16="http://schemas.microsoft.com/office/drawing/2014/main" id="{2151BA25-07A1-4051-23CA-FB0A72AC6E9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93431" y="4418923"/>
            <a:ext cx="378916" cy="369470"/>
          </a:xfrm>
          <a:prstGeom prst="rect">
            <a:avLst/>
          </a:prstGeom>
        </p:spPr>
      </p:pic>
      <p:pic>
        <p:nvPicPr>
          <p:cNvPr id="36" name="Grafik 22" descr="Ein Bild, das Text enthält.&#10;&#10;Beschreibung automatisch generiert.">
            <a:extLst>
              <a:ext uri="{FF2B5EF4-FFF2-40B4-BE49-F238E27FC236}">
                <a16:creationId xmlns:a16="http://schemas.microsoft.com/office/drawing/2014/main" id="{F8F1465C-EBA5-21D7-035D-C181290D557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72476" y="4031255"/>
            <a:ext cx="301089" cy="29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652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630415" cy="380810"/>
          </a:xfrm>
        </p:spPr>
        <p:txBody>
          <a:bodyPr vert="horz"/>
          <a:lstStyle/>
          <a:p>
            <a:r>
              <a:rPr lang="en-GB" dirty="0">
                <a:ea typeface="+mj-lt"/>
                <a:cs typeface="+mj-lt"/>
              </a:rPr>
              <a:t>Pre-processing: Achievements &amp; challenges  </a:t>
            </a:r>
            <a:endParaRPr lang="en-GB" dirty="0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6444C04-7C71-D82D-E466-364823F6F0E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pl-PL" b="1">
                <a:latin typeface="Arial"/>
                <a:cs typeface="Arial"/>
              </a:rPr>
              <a:t>Pre</a:t>
            </a:r>
            <a:r>
              <a:rPr lang="de-DE" b="1">
                <a:latin typeface="Arial"/>
                <a:cs typeface="Arial"/>
              </a:rPr>
              <a:t>-</a:t>
            </a:r>
            <a:r>
              <a:rPr lang="pl-PL" b="1">
                <a:latin typeface="Arial"/>
                <a:cs typeface="Arial"/>
              </a:rPr>
              <a:t>process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◻︎ </a:t>
            </a:r>
            <a:r>
              <a:rPr lang="de-DE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D6F08EE-46EF-B855-09DB-21E4C92446CE}"/>
              </a:ext>
            </a:extLst>
          </p:cNvPr>
          <p:cNvSpPr txBox="1"/>
          <p:nvPr/>
        </p:nvSpPr>
        <p:spPr>
          <a:xfrm>
            <a:off x="1673211" y="1356133"/>
            <a:ext cx="7153797" cy="96180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13999"/>
              </a:lnSpc>
            </a:pPr>
            <a:r>
              <a:rPr lang="de-DE" sz="1400" b="1" dirty="0">
                <a:latin typeface="+mn-lt"/>
                <a:cs typeface="Arial"/>
              </a:rPr>
              <a:t>Achievements</a:t>
            </a:r>
            <a:endParaRPr lang="de-DE" dirty="0"/>
          </a:p>
          <a:p>
            <a:pPr marL="742950" lvl="1" indent="-285750">
              <a:lnSpc>
                <a:spcPct val="113999"/>
              </a:lnSpc>
              <a:buFont typeface="Arial,Sans-Serif"/>
              <a:buChar char="•"/>
            </a:pPr>
            <a:r>
              <a:rPr lang="en-US" sz="1400" b="1" dirty="0">
                <a:latin typeface="+mn-lt"/>
                <a:cs typeface="Arial"/>
              </a:rPr>
              <a:t>Labelled</a:t>
            </a:r>
            <a:r>
              <a:rPr lang="en-US" sz="1400" dirty="0">
                <a:latin typeface="+mn-lt"/>
                <a:cs typeface="Arial"/>
              </a:rPr>
              <a:t> the data</a:t>
            </a:r>
            <a:endParaRPr lang="en-US" sz="1400" b="1" dirty="0">
              <a:latin typeface="+mn-lt"/>
              <a:cs typeface="Arial"/>
            </a:endParaRPr>
          </a:p>
          <a:p>
            <a:pPr marL="742950" lvl="1" indent="-285750">
              <a:lnSpc>
                <a:spcPct val="113999"/>
              </a:lnSpc>
              <a:buFont typeface="Arial,Sans-Serif"/>
              <a:buChar char="•"/>
            </a:pPr>
            <a:r>
              <a:rPr lang="en-US" sz="1400" dirty="0">
                <a:latin typeface="+mn-lt"/>
                <a:cs typeface="Arial"/>
              </a:rPr>
              <a:t>Implemented </a:t>
            </a:r>
            <a:r>
              <a:rPr lang="en-US" sz="1400" b="1" dirty="0">
                <a:latin typeface="+mn-lt"/>
                <a:cs typeface="Arial"/>
              </a:rPr>
              <a:t>resizing</a:t>
            </a:r>
            <a:r>
              <a:rPr lang="en-US" sz="1400" dirty="0">
                <a:latin typeface="+mn-lt"/>
                <a:cs typeface="Arial"/>
              </a:rPr>
              <a:t> function</a:t>
            </a:r>
          </a:p>
          <a:p>
            <a:pPr marL="742950" lvl="1" indent="-285750">
              <a:lnSpc>
                <a:spcPct val="113999"/>
              </a:lnSpc>
              <a:buFont typeface="Arial,Sans-Serif"/>
              <a:buChar char="•"/>
            </a:pPr>
            <a:r>
              <a:rPr lang="en-US" sz="1400" dirty="0">
                <a:latin typeface="+mn-lt"/>
                <a:cs typeface="Arial"/>
              </a:rPr>
              <a:t>Created </a:t>
            </a:r>
            <a:r>
              <a:rPr lang="en-US" sz="1400" b="1" dirty="0">
                <a:latin typeface="+mn-lt"/>
                <a:cs typeface="Arial"/>
              </a:rPr>
              <a:t>data augmentation </a:t>
            </a:r>
            <a:r>
              <a:rPr lang="en-US" sz="1400" dirty="0">
                <a:latin typeface="+mn-lt"/>
                <a:cs typeface="Arial"/>
              </a:rPr>
              <a:t>module</a:t>
            </a:r>
            <a:endParaRPr lang="de-DE" b="1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D2DC01D-F734-2C2E-CE7C-643B282BF49E}"/>
              </a:ext>
            </a:extLst>
          </p:cNvPr>
          <p:cNvSpPr txBox="1"/>
          <p:nvPr/>
        </p:nvSpPr>
        <p:spPr>
          <a:xfrm>
            <a:off x="1673211" y="3054767"/>
            <a:ext cx="7153797" cy="71622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13999"/>
              </a:lnSpc>
            </a:pPr>
            <a:r>
              <a:rPr lang="de-DE" sz="1400" b="1" dirty="0">
                <a:latin typeface="+mn-lt"/>
                <a:cs typeface="Arial"/>
              </a:rPr>
              <a:t>Challenges </a:t>
            </a:r>
            <a:endParaRPr lang="de-DE" dirty="0"/>
          </a:p>
          <a:p>
            <a:pPr marL="742950" lvl="1" indent="-285750">
              <a:lnSpc>
                <a:spcPct val="113999"/>
              </a:lnSpc>
              <a:buFont typeface="Arial,Sans-Serif"/>
              <a:buChar char="•"/>
            </a:pPr>
            <a:r>
              <a:rPr lang="de-DE" altLang="ja-JP" sz="1400" err="1">
                <a:latin typeface="+mn-lt"/>
                <a:cs typeface="Arial"/>
              </a:rPr>
              <a:t>Evaluating</a:t>
            </a:r>
            <a:r>
              <a:rPr lang="ja-JP" altLang="de-DE" sz="1400" b="1" dirty="0">
                <a:latin typeface="+mn-lt"/>
                <a:cs typeface="Arial"/>
              </a:rPr>
              <a:t> </a:t>
            </a:r>
            <a:r>
              <a:rPr lang="ja-JP" altLang="de-DE" sz="1400" dirty="0">
                <a:latin typeface="+mn-lt"/>
                <a:cs typeface="Arial"/>
              </a:rPr>
              <a:t>the </a:t>
            </a:r>
            <a:r>
              <a:rPr lang="ja-JP" altLang="de-DE" sz="1400" b="1">
                <a:latin typeface="+mn-lt"/>
                <a:cs typeface="Arial"/>
              </a:rPr>
              <a:t>influence</a:t>
            </a:r>
            <a:r>
              <a:rPr lang="ja-JP" altLang="de-DE" sz="1400" dirty="0">
                <a:latin typeface="+mn-lt"/>
                <a:cs typeface="Arial"/>
              </a:rPr>
              <a:t> of </a:t>
            </a:r>
            <a:r>
              <a:rPr lang="de-DE" altLang="ja-JP" sz="1400" dirty="0" err="1">
                <a:latin typeface="+mn-lt"/>
                <a:cs typeface="Arial"/>
              </a:rPr>
              <a:t>preprocessing</a:t>
            </a:r>
            <a:r>
              <a:rPr lang="ja-JP" altLang="de-DE" sz="1400" dirty="0">
                <a:latin typeface="+mn-lt"/>
                <a:cs typeface="Arial"/>
              </a:rPr>
              <a:t> </a:t>
            </a:r>
            <a:r>
              <a:rPr lang="de-DE" altLang="ja-JP" sz="1400">
                <a:latin typeface="+mn-lt"/>
                <a:cs typeface="Arial"/>
              </a:rPr>
              <a:t>and </a:t>
            </a:r>
            <a:r>
              <a:rPr lang="de-DE" altLang="ja-JP" sz="1400" err="1">
                <a:latin typeface="+mn-lt"/>
                <a:cs typeface="Arial"/>
              </a:rPr>
              <a:t>data</a:t>
            </a:r>
            <a:r>
              <a:rPr lang="de-DE" altLang="ja-JP" sz="1400">
                <a:latin typeface="+mn-lt"/>
                <a:cs typeface="Arial"/>
              </a:rPr>
              <a:t> </a:t>
            </a:r>
            <a:r>
              <a:rPr lang="de-DE" altLang="ja-JP" sz="1400" err="1">
                <a:latin typeface="+mn-lt"/>
                <a:cs typeface="Arial"/>
              </a:rPr>
              <a:t>augmentation</a:t>
            </a:r>
            <a:endParaRPr lang="en-US" altLang="ja-JP" sz="1400" dirty="0">
              <a:latin typeface="+mn-lt"/>
              <a:cs typeface="Arial"/>
            </a:endParaRPr>
          </a:p>
          <a:p>
            <a:pPr marL="742950" lvl="1" indent="-285750">
              <a:lnSpc>
                <a:spcPct val="113999"/>
              </a:lnSpc>
              <a:buFont typeface="Arial,Sans-Serif"/>
              <a:buChar char="•"/>
            </a:pPr>
            <a:r>
              <a:rPr lang="en-US" sz="1400" dirty="0">
                <a:latin typeface="+mn-lt"/>
                <a:cs typeface="Arial"/>
              </a:rPr>
              <a:t>Ensuring </a:t>
            </a:r>
            <a:r>
              <a:rPr lang="en-US" sz="1400" b="1">
                <a:latin typeface="+mn-lt"/>
                <a:cs typeface="Arial"/>
              </a:rPr>
              <a:t>correct labels </a:t>
            </a:r>
            <a:r>
              <a:rPr lang="en-US" sz="1400" dirty="0">
                <a:latin typeface="+mn-lt"/>
                <a:cs typeface="Arial"/>
              </a:rPr>
              <a:t>(some </a:t>
            </a:r>
            <a:r>
              <a:rPr lang="en-US" sz="1400">
                <a:latin typeface="+mn-lt"/>
                <a:cs typeface="Arial"/>
              </a:rPr>
              <a:t>damages are hard to classify</a:t>
            </a:r>
            <a:r>
              <a:rPr lang="en-US" sz="1400" dirty="0">
                <a:latin typeface="+mn-lt"/>
                <a:cs typeface="Arial"/>
              </a:rPr>
              <a:t>)</a:t>
            </a:r>
            <a:endParaRPr lang="en-US" dirty="0"/>
          </a:p>
        </p:txBody>
      </p:sp>
      <p:grpSp>
        <p:nvGrpSpPr>
          <p:cNvPr id="22" name="Group 45">
            <a:extLst>
              <a:ext uri="{FF2B5EF4-FFF2-40B4-BE49-F238E27FC236}">
                <a16:creationId xmlns:a16="http://schemas.microsoft.com/office/drawing/2014/main" id="{279FA254-52EA-BFCC-A9EA-46A055357C44}"/>
              </a:ext>
            </a:extLst>
          </p:cNvPr>
          <p:cNvGrpSpPr>
            <a:grpSpLocks noChangeAspect="1"/>
          </p:cNvGrpSpPr>
          <p:nvPr/>
        </p:nvGrpSpPr>
        <p:grpSpPr>
          <a:xfrm>
            <a:off x="686981" y="3003808"/>
            <a:ext cx="818141" cy="818141"/>
            <a:chOff x="5273675" y="2606675"/>
            <a:chExt cx="1644650" cy="1644650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C98A470B-CB1E-0386-E6BA-0AA874D88E2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9" name="Group 47">
              <a:extLst>
                <a:ext uri="{FF2B5EF4-FFF2-40B4-BE49-F238E27FC236}">
                  <a16:creationId xmlns:a16="http://schemas.microsoft.com/office/drawing/2014/main" id="{60C26A04-61F8-D7A6-03A0-9E0E87B2948F}"/>
                </a:ext>
              </a:extLst>
            </p:cNvPr>
            <p:cNvGrpSpPr/>
            <p:nvPr/>
          </p:nvGrpSpPr>
          <p:grpSpPr>
            <a:xfrm>
              <a:off x="5443086" y="2924175"/>
              <a:ext cx="1305829" cy="1009650"/>
              <a:chOff x="5445551" y="2967038"/>
              <a:chExt cx="1305829" cy="1009650"/>
            </a:xfrm>
          </p:grpSpPr>
          <p:sp>
            <p:nvSpPr>
              <p:cNvPr id="20" name="Freeform 5">
                <a:extLst>
                  <a:ext uri="{FF2B5EF4-FFF2-40B4-BE49-F238E27FC236}">
                    <a16:creationId xmlns:a16="http://schemas.microsoft.com/office/drawing/2014/main" id="{AC0A9DDF-E27D-E8BC-AC06-C2BF462CA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551" y="2967038"/>
                <a:ext cx="1305829" cy="1009650"/>
              </a:xfrm>
              <a:custGeom>
                <a:avLst/>
                <a:gdLst>
                  <a:gd name="connsiteX0" fmla="*/ 752057 w 1305829"/>
                  <a:gd name="connsiteY0" fmla="*/ 24218 h 1009650"/>
                  <a:gd name="connsiteX1" fmla="*/ 788431 w 1305829"/>
                  <a:gd name="connsiteY1" fmla="*/ 34246 h 1009650"/>
                  <a:gd name="connsiteX2" fmla="*/ 826851 w 1305829"/>
                  <a:gd name="connsiteY2" fmla="*/ 55733 h 1009650"/>
                  <a:gd name="connsiteX3" fmla="*/ 886614 w 1305829"/>
                  <a:gd name="connsiteY3" fmla="*/ 55733 h 1009650"/>
                  <a:gd name="connsiteX4" fmla="*/ 925034 w 1305829"/>
                  <a:gd name="connsiteY4" fmla="*/ 31381 h 1009650"/>
                  <a:gd name="connsiteX5" fmla="*/ 925745 w 1305829"/>
                  <a:gd name="connsiteY5" fmla="*/ 31381 h 1009650"/>
                  <a:gd name="connsiteX6" fmla="*/ 930726 w 1305829"/>
                  <a:gd name="connsiteY6" fmla="*/ 34962 h 1009650"/>
                  <a:gd name="connsiteX7" fmla="*/ 930726 w 1305829"/>
                  <a:gd name="connsiteY7" fmla="*/ 35678 h 1009650"/>
                  <a:gd name="connsiteX8" fmla="*/ 931437 w 1305829"/>
                  <a:gd name="connsiteY8" fmla="*/ 191820 h 1009650"/>
                  <a:gd name="connsiteX9" fmla="*/ 927880 w 1305829"/>
                  <a:gd name="connsiteY9" fmla="*/ 198982 h 1009650"/>
                  <a:gd name="connsiteX10" fmla="*/ 876654 w 1305829"/>
                  <a:gd name="connsiteY10" fmla="*/ 228348 h 1009650"/>
                  <a:gd name="connsiteX11" fmla="*/ 826851 w 1305829"/>
                  <a:gd name="connsiteY11" fmla="*/ 224051 h 1009650"/>
                  <a:gd name="connsiteX12" fmla="*/ 792700 w 1305829"/>
                  <a:gd name="connsiteY12" fmla="*/ 205429 h 1009650"/>
                  <a:gd name="connsiteX13" fmla="*/ 705900 w 1305829"/>
                  <a:gd name="connsiteY13" fmla="*/ 203996 h 1009650"/>
                  <a:gd name="connsiteX14" fmla="*/ 698074 w 1305829"/>
                  <a:gd name="connsiteY14" fmla="*/ 208294 h 1009650"/>
                  <a:gd name="connsiteX15" fmla="*/ 698074 w 1305829"/>
                  <a:gd name="connsiteY15" fmla="*/ 39976 h 1009650"/>
                  <a:gd name="connsiteX16" fmla="*/ 715150 w 1305829"/>
                  <a:gd name="connsiteY16" fmla="*/ 31381 h 1009650"/>
                  <a:gd name="connsiteX17" fmla="*/ 752057 w 1305829"/>
                  <a:gd name="connsiteY17" fmla="*/ 24218 h 1009650"/>
                  <a:gd name="connsiteX18" fmla="*/ 651404 w 1305829"/>
                  <a:gd name="connsiteY18" fmla="*/ 0 h 1009650"/>
                  <a:gd name="connsiteX19" fmla="*/ 666387 w 1305829"/>
                  <a:gd name="connsiteY19" fmla="*/ 14984 h 1009650"/>
                  <a:gd name="connsiteX20" fmla="*/ 666387 w 1305829"/>
                  <a:gd name="connsiteY20" fmla="*/ 376032 h 1009650"/>
                  <a:gd name="connsiteX21" fmla="*/ 682085 w 1305829"/>
                  <a:gd name="connsiteY21" fmla="*/ 380314 h 1009650"/>
                  <a:gd name="connsiteX22" fmla="*/ 697782 w 1305829"/>
                  <a:gd name="connsiteY22" fmla="*/ 388162 h 1009650"/>
                  <a:gd name="connsiteX23" fmla="*/ 723468 w 1305829"/>
                  <a:gd name="connsiteY23" fmla="*/ 413850 h 1009650"/>
                  <a:gd name="connsiteX24" fmla="*/ 868311 w 1305829"/>
                  <a:gd name="connsiteY24" fmla="*/ 663586 h 1009650"/>
                  <a:gd name="connsiteX25" fmla="*/ 901847 w 1305829"/>
                  <a:gd name="connsiteY25" fmla="*/ 618634 h 1009650"/>
                  <a:gd name="connsiteX26" fmla="*/ 966776 w 1305829"/>
                  <a:gd name="connsiteY26" fmla="*/ 587238 h 1009650"/>
                  <a:gd name="connsiteX27" fmla="*/ 1030279 w 1305829"/>
                  <a:gd name="connsiteY27" fmla="*/ 617920 h 1009650"/>
                  <a:gd name="connsiteX28" fmla="*/ 1285003 w 1305829"/>
                  <a:gd name="connsiteY28" fmla="*/ 944005 h 1009650"/>
                  <a:gd name="connsiteX29" fmla="*/ 1304268 w 1305829"/>
                  <a:gd name="connsiteY29" fmla="*/ 1009650 h 1009650"/>
                  <a:gd name="connsiteX30" fmla="*/ 1287857 w 1305829"/>
                  <a:gd name="connsiteY30" fmla="*/ 1009650 h 1009650"/>
                  <a:gd name="connsiteX31" fmla="*/ 1285805 w 1305829"/>
                  <a:gd name="connsiteY31" fmla="*/ 1009650 h 1009650"/>
                  <a:gd name="connsiteX32" fmla="*/ 1272160 w 1305829"/>
                  <a:gd name="connsiteY32" fmla="*/ 1009650 h 1009650"/>
                  <a:gd name="connsiteX33" fmla="*/ 1273587 w 1305829"/>
                  <a:gd name="connsiteY33" fmla="*/ 1004655 h 1009650"/>
                  <a:gd name="connsiteX34" fmla="*/ 1273587 w 1305829"/>
                  <a:gd name="connsiteY34" fmla="*/ 1001088 h 1009650"/>
                  <a:gd name="connsiteX35" fmla="*/ 1274300 w 1305829"/>
                  <a:gd name="connsiteY35" fmla="*/ 998234 h 1009650"/>
                  <a:gd name="connsiteX36" fmla="*/ 1274300 w 1305829"/>
                  <a:gd name="connsiteY36" fmla="*/ 994666 h 1009650"/>
                  <a:gd name="connsiteX37" fmla="*/ 1274300 w 1305829"/>
                  <a:gd name="connsiteY37" fmla="*/ 991098 h 1009650"/>
                  <a:gd name="connsiteX38" fmla="*/ 1260743 w 1305829"/>
                  <a:gd name="connsiteY38" fmla="*/ 965411 h 1009650"/>
                  <a:gd name="connsiteX39" fmla="*/ 1006019 w 1305829"/>
                  <a:gd name="connsiteY39" fmla="*/ 637186 h 1009650"/>
                  <a:gd name="connsiteX40" fmla="*/ 1002452 w 1305829"/>
                  <a:gd name="connsiteY40" fmla="*/ 633618 h 1009650"/>
                  <a:gd name="connsiteX41" fmla="*/ 1002452 w 1305829"/>
                  <a:gd name="connsiteY41" fmla="*/ 632904 h 1009650"/>
                  <a:gd name="connsiteX42" fmla="*/ 1000311 w 1305829"/>
                  <a:gd name="connsiteY42" fmla="*/ 631477 h 1009650"/>
                  <a:gd name="connsiteX43" fmla="*/ 983901 w 1305829"/>
                  <a:gd name="connsiteY43" fmla="*/ 621488 h 1009650"/>
                  <a:gd name="connsiteX44" fmla="*/ 966776 w 1305829"/>
                  <a:gd name="connsiteY44" fmla="*/ 618634 h 1009650"/>
                  <a:gd name="connsiteX45" fmla="*/ 927533 w 1305829"/>
                  <a:gd name="connsiteY45" fmla="*/ 637899 h 1009650"/>
                  <a:gd name="connsiteX46" fmla="*/ 918971 w 1305829"/>
                  <a:gd name="connsiteY46" fmla="*/ 649316 h 1009650"/>
                  <a:gd name="connsiteX47" fmla="*/ 865457 w 1305829"/>
                  <a:gd name="connsiteY47" fmla="*/ 719956 h 1009650"/>
                  <a:gd name="connsiteX48" fmla="*/ 809803 w 1305829"/>
                  <a:gd name="connsiteY48" fmla="*/ 625056 h 1009650"/>
                  <a:gd name="connsiteX49" fmla="*/ 697782 w 1305829"/>
                  <a:gd name="connsiteY49" fmla="*/ 432401 h 1009650"/>
                  <a:gd name="connsiteX50" fmla="*/ 696355 w 1305829"/>
                  <a:gd name="connsiteY50" fmla="*/ 429547 h 1009650"/>
                  <a:gd name="connsiteX51" fmla="*/ 682085 w 1305829"/>
                  <a:gd name="connsiteY51" fmla="*/ 415277 h 1009650"/>
                  <a:gd name="connsiteX52" fmla="*/ 681371 w 1305829"/>
                  <a:gd name="connsiteY52" fmla="*/ 414563 h 1009650"/>
                  <a:gd name="connsiteX53" fmla="*/ 666387 w 1305829"/>
                  <a:gd name="connsiteY53" fmla="*/ 408141 h 1009650"/>
                  <a:gd name="connsiteX54" fmla="*/ 654258 w 1305829"/>
                  <a:gd name="connsiteY54" fmla="*/ 406714 h 1009650"/>
                  <a:gd name="connsiteX55" fmla="*/ 636420 w 1305829"/>
                  <a:gd name="connsiteY55" fmla="*/ 409568 h 1009650"/>
                  <a:gd name="connsiteX56" fmla="*/ 620723 w 1305829"/>
                  <a:gd name="connsiteY56" fmla="*/ 418844 h 1009650"/>
                  <a:gd name="connsiteX57" fmla="*/ 615728 w 1305829"/>
                  <a:gd name="connsiteY57" fmla="*/ 424553 h 1009650"/>
                  <a:gd name="connsiteX58" fmla="*/ 609306 w 1305829"/>
                  <a:gd name="connsiteY58" fmla="*/ 433829 h 1009650"/>
                  <a:gd name="connsiteX59" fmla="*/ 605025 w 1305829"/>
                  <a:gd name="connsiteY59" fmla="*/ 444532 h 1009650"/>
                  <a:gd name="connsiteX60" fmla="*/ 494431 w 1305829"/>
                  <a:gd name="connsiteY60" fmla="*/ 690701 h 1009650"/>
                  <a:gd name="connsiteX61" fmla="*/ 477307 w 1305829"/>
                  <a:gd name="connsiteY61" fmla="*/ 728518 h 1009650"/>
                  <a:gd name="connsiteX62" fmla="*/ 469458 w 1305829"/>
                  <a:gd name="connsiteY62" fmla="*/ 724237 h 1009650"/>
                  <a:gd name="connsiteX63" fmla="*/ 410236 w 1305829"/>
                  <a:gd name="connsiteY63" fmla="*/ 686419 h 1009650"/>
                  <a:gd name="connsiteX64" fmla="*/ 409523 w 1305829"/>
                  <a:gd name="connsiteY64" fmla="*/ 686419 h 1009650"/>
                  <a:gd name="connsiteX65" fmla="*/ 400247 w 1305829"/>
                  <a:gd name="connsiteY65" fmla="*/ 681425 h 1009650"/>
                  <a:gd name="connsiteX66" fmla="*/ 382409 w 1305829"/>
                  <a:gd name="connsiteY66" fmla="*/ 678571 h 1009650"/>
                  <a:gd name="connsiteX67" fmla="*/ 348161 w 1305829"/>
                  <a:gd name="connsiteY67" fmla="*/ 691414 h 1009650"/>
                  <a:gd name="connsiteX68" fmla="*/ 70605 w 1305829"/>
                  <a:gd name="connsiteY68" fmla="*/ 941151 h 1009650"/>
                  <a:gd name="connsiteX69" fmla="*/ 45632 w 1305829"/>
                  <a:gd name="connsiteY69" fmla="*/ 963270 h 1009650"/>
                  <a:gd name="connsiteX70" fmla="*/ 31361 w 1305829"/>
                  <a:gd name="connsiteY70" fmla="*/ 998234 h 1009650"/>
                  <a:gd name="connsiteX71" fmla="*/ 33502 w 1305829"/>
                  <a:gd name="connsiteY71" fmla="*/ 1009650 h 1009650"/>
                  <a:gd name="connsiteX72" fmla="*/ 17091 w 1305829"/>
                  <a:gd name="connsiteY72" fmla="*/ 1009650 h 1009650"/>
                  <a:gd name="connsiteX73" fmla="*/ 1394 w 1305829"/>
                  <a:gd name="connsiteY73" fmla="*/ 1009650 h 1009650"/>
                  <a:gd name="connsiteX74" fmla="*/ 24940 w 1305829"/>
                  <a:gd name="connsiteY74" fmla="*/ 939724 h 1009650"/>
                  <a:gd name="connsiteX75" fmla="*/ 327469 w 1305829"/>
                  <a:gd name="connsiteY75" fmla="*/ 667868 h 1009650"/>
                  <a:gd name="connsiteX76" fmla="*/ 382409 w 1305829"/>
                  <a:gd name="connsiteY76" fmla="*/ 647175 h 1009650"/>
                  <a:gd name="connsiteX77" fmla="*/ 425934 w 1305829"/>
                  <a:gd name="connsiteY77" fmla="*/ 659305 h 1009650"/>
                  <a:gd name="connsiteX78" fmla="*/ 426647 w 1305829"/>
                  <a:gd name="connsiteY78" fmla="*/ 659305 h 1009650"/>
                  <a:gd name="connsiteX79" fmla="*/ 463036 w 1305829"/>
                  <a:gd name="connsiteY79" fmla="*/ 682852 h 1009650"/>
                  <a:gd name="connsiteX80" fmla="*/ 580766 w 1305829"/>
                  <a:gd name="connsiteY80" fmla="*/ 420985 h 1009650"/>
                  <a:gd name="connsiteX81" fmla="*/ 605025 w 1305829"/>
                  <a:gd name="connsiteY81" fmla="*/ 391017 h 1009650"/>
                  <a:gd name="connsiteX82" fmla="*/ 620723 w 1305829"/>
                  <a:gd name="connsiteY82" fmla="*/ 382454 h 1009650"/>
                  <a:gd name="connsiteX83" fmla="*/ 636420 w 1305829"/>
                  <a:gd name="connsiteY83" fmla="*/ 376746 h 1009650"/>
                  <a:gd name="connsiteX84" fmla="*/ 636420 w 1305829"/>
                  <a:gd name="connsiteY84" fmla="*/ 14984 h 1009650"/>
                  <a:gd name="connsiteX85" fmla="*/ 651404 w 1305829"/>
                  <a:gd name="connsiteY85" fmla="*/ 0 h 1009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305829" h="1009650">
                    <a:moveTo>
                      <a:pt x="752057" y="24218"/>
                    </a:moveTo>
                    <a:cubicBezTo>
                      <a:pt x="764241" y="24756"/>
                      <a:pt x="776336" y="28158"/>
                      <a:pt x="788431" y="34246"/>
                    </a:cubicBezTo>
                    <a:cubicBezTo>
                      <a:pt x="801238" y="41408"/>
                      <a:pt x="814044" y="48571"/>
                      <a:pt x="826851" y="55733"/>
                    </a:cubicBezTo>
                    <a:cubicBezTo>
                      <a:pt x="846772" y="65761"/>
                      <a:pt x="866693" y="65761"/>
                      <a:pt x="886614" y="55733"/>
                    </a:cubicBezTo>
                    <a:cubicBezTo>
                      <a:pt x="900132" y="48571"/>
                      <a:pt x="912227" y="39976"/>
                      <a:pt x="925034" y="31381"/>
                    </a:cubicBezTo>
                    <a:cubicBezTo>
                      <a:pt x="925034" y="31381"/>
                      <a:pt x="925034" y="31381"/>
                      <a:pt x="925745" y="31381"/>
                    </a:cubicBezTo>
                    <a:cubicBezTo>
                      <a:pt x="927880" y="29948"/>
                      <a:pt x="930726" y="32097"/>
                      <a:pt x="930726" y="34962"/>
                    </a:cubicBezTo>
                    <a:cubicBezTo>
                      <a:pt x="930726" y="34962"/>
                      <a:pt x="930726" y="34962"/>
                      <a:pt x="930726" y="35678"/>
                    </a:cubicBezTo>
                    <a:cubicBezTo>
                      <a:pt x="930726" y="87964"/>
                      <a:pt x="930726" y="139534"/>
                      <a:pt x="931437" y="191820"/>
                    </a:cubicBezTo>
                    <a:cubicBezTo>
                      <a:pt x="931437" y="194685"/>
                      <a:pt x="930014" y="197550"/>
                      <a:pt x="927880" y="198982"/>
                    </a:cubicBezTo>
                    <a:cubicBezTo>
                      <a:pt x="912227" y="210442"/>
                      <a:pt x="895864" y="222618"/>
                      <a:pt x="876654" y="228348"/>
                    </a:cubicBezTo>
                    <a:cubicBezTo>
                      <a:pt x="859579" y="233362"/>
                      <a:pt x="843215" y="231930"/>
                      <a:pt x="826851" y="224051"/>
                    </a:cubicBezTo>
                    <a:cubicBezTo>
                      <a:pt x="815467" y="219037"/>
                      <a:pt x="803372" y="211875"/>
                      <a:pt x="792700" y="205429"/>
                    </a:cubicBezTo>
                    <a:cubicBezTo>
                      <a:pt x="764241" y="188239"/>
                      <a:pt x="735071" y="188955"/>
                      <a:pt x="705900" y="203996"/>
                    </a:cubicBezTo>
                    <a:cubicBezTo>
                      <a:pt x="703766" y="205429"/>
                      <a:pt x="700920" y="206861"/>
                      <a:pt x="698074" y="208294"/>
                    </a:cubicBezTo>
                    <a:cubicBezTo>
                      <a:pt x="698074" y="208294"/>
                      <a:pt x="698074" y="208294"/>
                      <a:pt x="698074" y="39976"/>
                    </a:cubicBezTo>
                    <a:cubicBezTo>
                      <a:pt x="704478" y="36395"/>
                      <a:pt x="711592" y="32813"/>
                      <a:pt x="715150" y="31381"/>
                    </a:cubicBezTo>
                    <a:cubicBezTo>
                      <a:pt x="727601" y="26009"/>
                      <a:pt x="739873" y="23681"/>
                      <a:pt x="752057" y="24218"/>
                    </a:cubicBezTo>
                    <a:close/>
                    <a:moveTo>
                      <a:pt x="651404" y="0"/>
                    </a:moveTo>
                    <a:cubicBezTo>
                      <a:pt x="659252" y="0"/>
                      <a:pt x="666387" y="6422"/>
                      <a:pt x="666387" y="14984"/>
                    </a:cubicBezTo>
                    <a:cubicBezTo>
                      <a:pt x="666387" y="14984"/>
                      <a:pt x="666387" y="79916"/>
                      <a:pt x="666387" y="376032"/>
                    </a:cubicBezTo>
                    <a:cubicBezTo>
                      <a:pt x="672096" y="376746"/>
                      <a:pt x="677090" y="378173"/>
                      <a:pt x="682085" y="380314"/>
                    </a:cubicBezTo>
                    <a:cubicBezTo>
                      <a:pt x="687793" y="382454"/>
                      <a:pt x="692787" y="384595"/>
                      <a:pt x="697782" y="388162"/>
                    </a:cubicBezTo>
                    <a:cubicBezTo>
                      <a:pt x="708485" y="394584"/>
                      <a:pt x="717047" y="403147"/>
                      <a:pt x="723468" y="413850"/>
                    </a:cubicBezTo>
                    <a:cubicBezTo>
                      <a:pt x="723468" y="413850"/>
                      <a:pt x="723468" y="413850"/>
                      <a:pt x="868311" y="663586"/>
                    </a:cubicBezTo>
                    <a:cubicBezTo>
                      <a:pt x="868311" y="663586"/>
                      <a:pt x="868311" y="663586"/>
                      <a:pt x="901847" y="618634"/>
                    </a:cubicBezTo>
                    <a:cubicBezTo>
                      <a:pt x="916830" y="599368"/>
                      <a:pt x="941090" y="587238"/>
                      <a:pt x="966776" y="587238"/>
                    </a:cubicBezTo>
                    <a:cubicBezTo>
                      <a:pt x="992463" y="587238"/>
                      <a:pt x="1015295" y="598655"/>
                      <a:pt x="1030279" y="617920"/>
                    </a:cubicBezTo>
                    <a:cubicBezTo>
                      <a:pt x="1030279" y="617920"/>
                      <a:pt x="1030279" y="617920"/>
                      <a:pt x="1285003" y="944005"/>
                    </a:cubicBezTo>
                    <a:cubicBezTo>
                      <a:pt x="1302127" y="961843"/>
                      <a:pt x="1309262" y="986104"/>
                      <a:pt x="1304268" y="1009650"/>
                    </a:cubicBezTo>
                    <a:cubicBezTo>
                      <a:pt x="1304268" y="1009650"/>
                      <a:pt x="1304268" y="1009650"/>
                      <a:pt x="1287857" y="1009650"/>
                    </a:cubicBezTo>
                    <a:cubicBezTo>
                      <a:pt x="1287857" y="1009650"/>
                      <a:pt x="1287857" y="1009650"/>
                      <a:pt x="1285805" y="1009650"/>
                    </a:cubicBezTo>
                    <a:lnTo>
                      <a:pt x="1272160" y="1009650"/>
                    </a:lnTo>
                    <a:cubicBezTo>
                      <a:pt x="1272160" y="1007510"/>
                      <a:pt x="1272873" y="1006082"/>
                      <a:pt x="1273587" y="1004655"/>
                    </a:cubicBezTo>
                    <a:cubicBezTo>
                      <a:pt x="1273587" y="1003228"/>
                      <a:pt x="1273587" y="1002515"/>
                      <a:pt x="1273587" y="1001088"/>
                    </a:cubicBezTo>
                    <a:cubicBezTo>
                      <a:pt x="1274300" y="1000374"/>
                      <a:pt x="1274300" y="998947"/>
                      <a:pt x="1274300" y="998234"/>
                    </a:cubicBezTo>
                    <a:cubicBezTo>
                      <a:pt x="1274300" y="996807"/>
                      <a:pt x="1274300" y="996093"/>
                      <a:pt x="1274300" y="994666"/>
                    </a:cubicBezTo>
                    <a:cubicBezTo>
                      <a:pt x="1274300" y="993239"/>
                      <a:pt x="1274300" y="992525"/>
                      <a:pt x="1274300" y="991098"/>
                    </a:cubicBezTo>
                    <a:cubicBezTo>
                      <a:pt x="1272873" y="981822"/>
                      <a:pt x="1268592" y="972546"/>
                      <a:pt x="1260743" y="965411"/>
                    </a:cubicBezTo>
                    <a:cubicBezTo>
                      <a:pt x="1260743" y="965411"/>
                      <a:pt x="1260743" y="965411"/>
                      <a:pt x="1006019" y="637186"/>
                    </a:cubicBezTo>
                    <a:cubicBezTo>
                      <a:pt x="1004592" y="635759"/>
                      <a:pt x="1003879" y="634331"/>
                      <a:pt x="1002452" y="633618"/>
                    </a:cubicBezTo>
                    <a:cubicBezTo>
                      <a:pt x="1002452" y="633618"/>
                      <a:pt x="1002452" y="632904"/>
                      <a:pt x="1002452" y="632904"/>
                    </a:cubicBezTo>
                    <a:cubicBezTo>
                      <a:pt x="1001738" y="632904"/>
                      <a:pt x="1001025" y="632191"/>
                      <a:pt x="1000311" y="631477"/>
                    </a:cubicBezTo>
                    <a:cubicBezTo>
                      <a:pt x="995317" y="627196"/>
                      <a:pt x="989609" y="623628"/>
                      <a:pt x="983901" y="621488"/>
                    </a:cubicBezTo>
                    <a:cubicBezTo>
                      <a:pt x="978192" y="620061"/>
                      <a:pt x="972484" y="618634"/>
                      <a:pt x="966776" y="618634"/>
                    </a:cubicBezTo>
                    <a:cubicBezTo>
                      <a:pt x="951079" y="618634"/>
                      <a:pt x="936095" y="625769"/>
                      <a:pt x="927533" y="637899"/>
                    </a:cubicBezTo>
                    <a:cubicBezTo>
                      <a:pt x="927533" y="637899"/>
                      <a:pt x="927533" y="637899"/>
                      <a:pt x="918971" y="649316"/>
                    </a:cubicBezTo>
                    <a:cubicBezTo>
                      <a:pt x="918971" y="649316"/>
                      <a:pt x="918971" y="649316"/>
                      <a:pt x="865457" y="719956"/>
                    </a:cubicBezTo>
                    <a:cubicBezTo>
                      <a:pt x="865457" y="719956"/>
                      <a:pt x="865457" y="719956"/>
                      <a:pt x="809803" y="625056"/>
                    </a:cubicBezTo>
                    <a:cubicBezTo>
                      <a:pt x="809803" y="625056"/>
                      <a:pt x="809803" y="625056"/>
                      <a:pt x="697782" y="432401"/>
                    </a:cubicBezTo>
                    <a:cubicBezTo>
                      <a:pt x="697782" y="432401"/>
                      <a:pt x="697782" y="432401"/>
                      <a:pt x="696355" y="429547"/>
                    </a:cubicBezTo>
                    <a:cubicBezTo>
                      <a:pt x="692787" y="423839"/>
                      <a:pt x="687793" y="418844"/>
                      <a:pt x="682085" y="415277"/>
                    </a:cubicBezTo>
                    <a:cubicBezTo>
                      <a:pt x="682085" y="414563"/>
                      <a:pt x="682085" y="414563"/>
                      <a:pt x="681371" y="414563"/>
                    </a:cubicBezTo>
                    <a:cubicBezTo>
                      <a:pt x="677090" y="411709"/>
                      <a:pt x="672096" y="409568"/>
                      <a:pt x="666387" y="408141"/>
                    </a:cubicBezTo>
                    <a:cubicBezTo>
                      <a:pt x="662820" y="407428"/>
                      <a:pt x="658539" y="406714"/>
                      <a:pt x="654258" y="406714"/>
                    </a:cubicBezTo>
                    <a:cubicBezTo>
                      <a:pt x="647836" y="406714"/>
                      <a:pt x="641415" y="407428"/>
                      <a:pt x="636420" y="409568"/>
                    </a:cubicBezTo>
                    <a:cubicBezTo>
                      <a:pt x="629998" y="411709"/>
                      <a:pt x="625004" y="415277"/>
                      <a:pt x="620723" y="418844"/>
                    </a:cubicBezTo>
                    <a:cubicBezTo>
                      <a:pt x="618582" y="420985"/>
                      <a:pt x="617155" y="422412"/>
                      <a:pt x="615728" y="424553"/>
                    </a:cubicBezTo>
                    <a:cubicBezTo>
                      <a:pt x="612874" y="427407"/>
                      <a:pt x="610733" y="430261"/>
                      <a:pt x="609306" y="433829"/>
                    </a:cubicBezTo>
                    <a:cubicBezTo>
                      <a:pt x="609306" y="433829"/>
                      <a:pt x="609306" y="433829"/>
                      <a:pt x="605025" y="444532"/>
                    </a:cubicBezTo>
                    <a:cubicBezTo>
                      <a:pt x="605025" y="444532"/>
                      <a:pt x="605025" y="444532"/>
                      <a:pt x="494431" y="690701"/>
                    </a:cubicBezTo>
                    <a:cubicBezTo>
                      <a:pt x="494431" y="690701"/>
                      <a:pt x="494431" y="690701"/>
                      <a:pt x="477307" y="728518"/>
                    </a:cubicBezTo>
                    <a:cubicBezTo>
                      <a:pt x="477307" y="728518"/>
                      <a:pt x="477307" y="728518"/>
                      <a:pt x="469458" y="724237"/>
                    </a:cubicBezTo>
                    <a:cubicBezTo>
                      <a:pt x="469458" y="724237"/>
                      <a:pt x="469458" y="724237"/>
                      <a:pt x="410236" y="686419"/>
                    </a:cubicBezTo>
                    <a:cubicBezTo>
                      <a:pt x="410236" y="686419"/>
                      <a:pt x="410236" y="686419"/>
                      <a:pt x="409523" y="686419"/>
                    </a:cubicBezTo>
                    <a:cubicBezTo>
                      <a:pt x="406669" y="684279"/>
                      <a:pt x="403815" y="682852"/>
                      <a:pt x="400247" y="681425"/>
                    </a:cubicBezTo>
                    <a:cubicBezTo>
                      <a:pt x="394539" y="679998"/>
                      <a:pt x="388831" y="678571"/>
                      <a:pt x="382409" y="678571"/>
                    </a:cubicBezTo>
                    <a:cubicBezTo>
                      <a:pt x="369566" y="678571"/>
                      <a:pt x="357437" y="682852"/>
                      <a:pt x="348161" y="691414"/>
                    </a:cubicBezTo>
                    <a:cubicBezTo>
                      <a:pt x="348161" y="691414"/>
                      <a:pt x="348161" y="691414"/>
                      <a:pt x="70605" y="941151"/>
                    </a:cubicBezTo>
                    <a:cubicBezTo>
                      <a:pt x="70605" y="941151"/>
                      <a:pt x="70605" y="941151"/>
                      <a:pt x="45632" y="963270"/>
                    </a:cubicBezTo>
                    <a:cubicBezTo>
                      <a:pt x="35642" y="972546"/>
                      <a:pt x="30648" y="985390"/>
                      <a:pt x="31361" y="998234"/>
                    </a:cubicBezTo>
                    <a:cubicBezTo>
                      <a:pt x="31361" y="1002515"/>
                      <a:pt x="32075" y="1006082"/>
                      <a:pt x="33502" y="1009650"/>
                    </a:cubicBezTo>
                    <a:cubicBezTo>
                      <a:pt x="33502" y="1009650"/>
                      <a:pt x="33502" y="1009650"/>
                      <a:pt x="17091" y="1009650"/>
                    </a:cubicBezTo>
                    <a:cubicBezTo>
                      <a:pt x="17091" y="1009650"/>
                      <a:pt x="17091" y="1009650"/>
                      <a:pt x="1394" y="1009650"/>
                    </a:cubicBezTo>
                    <a:cubicBezTo>
                      <a:pt x="-3601" y="984676"/>
                      <a:pt x="4961" y="958276"/>
                      <a:pt x="24940" y="939724"/>
                    </a:cubicBezTo>
                    <a:cubicBezTo>
                      <a:pt x="24940" y="939724"/>
                      <a:pt x="24940" y="939724"/>
                      <a:pt x="327469" y="667868"/>
                    </a:cubicBezTo>
                    <a:cubicBezTo>
                      <a:pt x="342453" y="654310"/>
                      <a:pt x="361718" y="647175"/>
                      <a:pt x="382409" y="647175"/>
                    </a:cubicBezTo>
                    <a:cubicBezTo>
                      <a:pt x="398107" y="647175"/>
                      <a:pt x="413091" y="651456"/>
                      <a:pt x="425934" y="659305"/>
                    </a:cubicBezTo>
                    <a:cubicBezTo>
                      <a:pt x="425934" y="659305"/>
                      <a:pt x="425934" y="659305"/>
                      <a:pt x="426647" y="659305"/>
                    </a:cubicBezTo>
                    <a:cubicBezTo>
                      <a:pt x="426647" y="659305"/>
                      <a:pt x="426647" y="659305"/>
                      <a:pt x="463036" y="682852"/>
                    </a:cubicBezTo>
                    <a:cubicBezTo>
                      <a:pt x="463036" y="682852"/>
                      <a:pt x="463036" y="682852"/>
                      <a:pt x="580766" y="420985"/>
                    </a:cubicBezTo>
                    <a:cubicBezTo>
                      <a:pt x="586474" y="408855"/>
                      <a:pt x="594323" y="398865"/>
                      <a:pt x="605025" y="391017"/>
                    </a:cubicBezTo>
                    <a:cubicBezTo>
                      <a:pt x="609306" y="387449"/>
                      <a:pt x="615015" y="384595"/>
                      <a:pt x="620723" y="382454"/>
                    </a:cubicBezTo>
                    <a:cubicBezTo>
                      <a:pt x="625717" y="380314"/>
                      <a:pt x="630712" y="378173"/>
                      <a:pt x="636420" y="376746"/>
                    </a:cubicBezTo>
                    <a:cubicBezTo>
                      <a:pt x="636420" y="303252"/>
                      <a:pt x="636420" y="189800"/>
                      <a:pt x="636420" y="14984"/>
                    </a:cubicBezTo>
                    <a:cubicBezTo>
                      <a:pt x="636420" y="6422"/>
                      <a:pt x="642842" y="0"/>
                      <a:pt x="65140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" name="Freeform 7">
                <a:extLst>
                  <a:ext uri="{FF2B5EF4-FFF2-40B4-BE49-F238E27FC236}">
                    <a16:creationId xmlns:a16="http://schemas.microsoft.com/office/drawing/2014/main" id="{A0764719-AC1B-604A-A0B9-81F7E45DED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2275" y="3405188"/>
                <a:ext cx="1192213" cy="571500"/>
              </a:xfrm>
              <a:custGeom>
                <a:avLst/>
                <a:gdLst>
                  <a:gd name="T0" fmla="*/ 1655 w 1670"/>
                  <a:gd name="T1" fmla="*/ 769 h 801"/>
                  <a:gd name="T2" fmla="*/ 1295 w 1670"/>
                  <a:gd name="T3" fmla="*/ 306 h 801"/>
                  <a:gd name="T4" fmla="*/ 1275 w 1670"/>
                  <a:gd name="T5" fmla="*/ 297 h 801"/>
                  <a:gd name="T6" fmla="*/ 1255 w 1670"/>
                  <a:gd name="T7" fmla="*/ 306 h 801"/>
                  <a:gd name="T8" fmla="*/ 1146 w 1670"/>
                  <a:gd name="T9" fmla="*/ 450 h 801"/>
                  <a:gd name="T10" fmla="*/ 1130 w 1670"/>
                  <a:gd name="T11" fmla="*/ 458 h 801"/>
                  <a:gd name="T12" fmla="*/ 1113 w 1670"/>
                  <a:gd name="T13" fmla="*/ 448 h 801"/>
                  <a:gd name="T14" fmla="*/ 898 w 1670"/>
                  <a:gd name="T15" fmla="*/ 80 h 801"/>
                  <a:gd name="T16" fmla="*/ 876 w 1670"/>
                  <a:gd name="T17" fmla="*/ 42 h 801"/>
                  <a:gd name="T18" fmla="*/ 858 w 1670"/>
                  <a:gd name="T19" fmla="*/ 11 h 801"/>
                  <a:gd name="T20" fmla="*/ 854 w 1670"/>
                  <a:gd name="T21" fmla="*/ 6 h 801"/>
                  <a:gd name="T22" fmla="*/ 837 w 1670"/>
                  <a:gd name="T23" fmla="*/ 0 h 801"/>
                  <a:gd name="T24" fmla="*/ 814 w 1670"/>
                  <a:gd name="T25" fmla="*/ 12 h 801"/>
                  <a:gd name="T26" fmla="*/ 812 w 1670"/>
                  <a:gd name="T27" fmla="*/ 18 h 801"/>
                  <a:gd name="T28" fmla="*/ 790 w 1670"/>
                  <a:gd name="T29" fmla="*/ 67 h 801"/>
                  <a:gd name="T30" fmla="*/ 768 w 1670"/>
                  <a:gd name="T31" fmla="*/ 116 h 801"/>
                  <a:gd name="T32" fmla="*/ 617 w 1670"/>
                  <a:gd name="T33" fmla="*/ 451 h 801"/>
                  <a:gd name="T34" fmla="*/ 599 w 1670"/>
                  <a:gd name="T35" fmla="*/ 463 h 801"/>
                  <a:gd name="T36" fmla="*/ 588 w 1670"/>
                  <a:gd name="T37" fmla="*/ 459 h 801"/>
                  <a:gd name="T38" fmla="*/ 471 w 1670"/>
                  <a:gd name="T39" fmla="*/ 385 h 801"/>
                  <a:gd name="T40" fmla="*/ 456 w 1670"/>
                  <a:gd name="T41" fmla="*/ 381 h 801"/>
                  <a:gd name="T42" fmla="*/ 437 w 1670"/>
                  <a:gd name="T43" fmla="*/ 388 h 801"/>
                  <a:gd name="T44" fmla="*/ 14 w 1670"/>
                  <a:gd name="T45" fmla="*/ 769 h 801"/>
                  <a:gd name="T46" fmla="*/ 32 w 1670"/>
                  <a:gd name="T47" fmla="*/ 801 h 801"/>
                  <a:gd name="T48" fmla="*/ 1637 w 1670"/>
                  <a:gd name="T49" fmla="*/ 801 h 801"/>
                  <a:gd name="T50" fmla="*/ 1655 w 1670"/>
                  <a:gd name="T51" fmla="*/ 769 h 8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70" h="801">
                    <a:moveTo>
                      <a:pt x="1655" y="769"/>
                    </a:moveTo>
                    <a:cubicBezTo>
                      <a:pt x="1295" y="306"/>
                      <a:pt x="1295" y="306"/>
                      <a:pt x="1295" y="306"/>
                    </a:cubicBezTo>
                    <a:cubicBezTo>
                      <a:pt x="1290" y="300"/>
                      <a:pt x="1283" y="297"/>
                      <a:pt x="1275" y="297"/>
                    </a:cubicBezTo>
                    <a:cubicBezTo>
                      <a:pt x="1267" y="297"/>
                      <a:pt x="1259" y="300"/>
                      <a:pt x="1255" y="306"/>
                    </a:cubicBezTo>
                    <a:cubicBezTo>
                      <a:pt x="1146" y="450"/>
                      <a:pt x="1146" y="450"/>
                      <a:pt x="1146" y="450"/>
                    </a:cubicBezTo>
                    <a:cubicBezTo>
                      <a:pt x="1142" y="456"/>
                      <a:pt x="1136" y="458"/>
                      <a:pt x="1130" y="458"/>
                    </a:cubicBezTo>
                    <a:cubicBezTo>
                      <a:pt x="1123" y="458"/>
                      <a:pt x="1117" y="455"/>
                      <a:pt x="1113" y="448"/>
                    </a:cubicBezTo>
                    <a:cubicBezTo>
                      <a:pt x="898" y="80"/>
                      <a:pt x="898" y="80"/>
                      <a:pt x="898" y="80"/>
                    </a:cubicBezTo>
                    <a:cubicBezTo>
                      <a:pt x="876" y="42"/>
                      <a:pt x="876" y="42"/>
                      <a:pt x="876" y="42"/>
                    </a:cubicBezTo>
                    <a:cubicBezTo>
                      <a:pt x="858" y="11"/>
                      <a:pt x="858" y="11"/>
                      <a:pt x="858" y="11"/>
                    </a:cubicBezTo>
                    <a:cubicBezTo>
                      <a:pt x="857" y="9"/>
                      <a:pt x="856" y="7"/>
                      <a:pt x="854" y="6"/>
                    </a:cubicBezTo>
                    <a:cubicBezTo>
                      <a:pt x="850" y="2"/>
                      <a:pt x="843" y="0"/>
                      <a:pt x="837" y="0"/>
                    </a:cubicBezTo>
                    <a:cubicBezTo>
                      <a:pt x="827" y="0"/>
                      <a:pt x="818" y="4"/>
                      <a:pt x="814" y="12"/>
                    </a:cubicBezTo>
                    <a:cubicBezTo>
                      <a:pt x="812" y="18"/>
                      <a:pt x="812" y="18"/>
                      <a:pt x="812" y="18"/>
                    </a:cubicBezTo>
                    <a:cubicBezTo>
                      <a:pt x="790" y="67"/>
                      <a:pt x="790" y="67"/>
                      <a:pt x="790" y="67"/>
                    </a:cubicBezTo>
                    <a:cubicBezTo>
                      <a:pt x="768" y="116"/>
                      <a:pt x="768" y="116"/>
                      <a:pt x="768" y="116"/>
                    </a:cubicBezTo>
                    <a:cubicBezTo>
                      <a:pt x="617" y="451"/>
                      <a:pt x="617" y="451"/>
                      <a:pt x="617" y="451"/>
                    </a:cubicBezTo>
                    <a:cubicBezTo>
                      <a:pt x="614" y="458"/>
                      <a:pt x="607" y="463"/>
                      <a:pt x="599" y="463"/>
                    </a:cubicBezTo>
                    <a:cubicBezTo>
                      <a:pt x="595" y="463"/>
                      <a:pt x="592" y="462"/>
                      <a:pt x="588" y="459"/>
                    </a:cubicBezTo>
                    <a:cubicBezTo>
                      <a:pt x="471" y="385"/>
                      <a:pt x="471" y="385"/>
                      <a:pt x="471" y="385"/>
                    </a:cubicBezTo>
                    <a:cubicBezTo>
                      <a:pt x="467" y="383"/>
                      <a:pt x="462" y="381"/>
                      <a:pt x="456" y="381"/>
                    </a:cubicBezTo>
                    <a:cubicBezTo>
                      <a:pt x="449" y="381"/>
                      <a:pt x="442" y="383"/>
                      <a:pt x="437" y="388"/>
                    </a:cubicBezTo>
                    <a:cubicBezTo>
                      <a:pt x="14" y="769"/>
                      <a:pt x="14" y="769"/>
                      <a:pt x="14" y="769"/>
                    </a:cubicBezTo>
                    <a:cubicBezTo>
                      <a:pt x="0" y="781"/>
                      <a:pt x="11" y="801"/>
                      <a:pt x="32" y="801"/>
                    </a:cubicBezTo>
                    <a:cubicBezTo>
                      <a:pt x="1637" y="801"/>
                      <a:pt x="1637" y="801"/>
                      <a:pt x="1637" y="801"/>
                    </a:cubicBezTo>
                    <a:cubicBezTo>
                      <a:pt x="1658" y="801"/>
                      <a:pt x="1670" y="780"/>
                      <a:pt x="1655" y="76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" name="bcgIcons_Simplicity">
            <a:extLst>
              <a:ext uri="{FF2B5EF4-FFF2-40B4-BE49-F238E27FC236}">
                <a16:creationId xmlns:a16="http://schemas.microsoft.com/office/drawing/2014/main" id="{A64AF195-170A-0891-A802-7F980F7E20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6385" y="1477034"/>
            <a:ext cx="719333" cy="720000"/>
            <a:chOff x="1682" y="0"/>
            <a:chExt cx="4316" cy="4320"/>
          </a:xfrm>
        </p:grpSpPr>
        <p:sp>
          <p:nvSpPr>
            <p:cNvPr id="25" name="AutoShape 23">
              <a:extLst>
                <a:ext uri="{FF2B5EF4-FFF2-40B4-BE49-F238E27FC236}">
                  <a16:creationId xmlns:a16="http://schemas.microsoft.com/office/drawing/2014/main" id="{64E8EF60-1947-FB9D-B89E-441C359737A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E723F4B-15E5-73B9-53E4-F3CF89B2C3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1" y="351"/>
              <a:ext cx="3178" cy="3615"/>
            </a:xfrm>
            <a:custGeom>
              <a:avLst/>
              <a:gdLst>
                <a:gd name="T0" fmla="*/ 1693 w 1696"/>
                <a:gd name="T1" fmla="*/ 1152 h 1928"/>
                <a:gd name="T2" fmla="*/ 1394 w 1696"/>
                <a:gd name="T3" fmla="*/ 1637 h 1928"/>
                <a:gd name="T4" fmla="*/ 865 w 1696"/>
                <a:gd name="T5" fmla="*/ 1831 h 1928"/>
                <a:gd name="T6" fmla="*/ 924 w 1696"/>
                <a:gd name="T7" fmla="*/ 1891 h 1928"/>
                <a:gd name="T8" fmla="*/ 923 w 1696"/>
                <a:gd name="T9" fmla="*/ 1922 h 1928"/>
                <a:gd name="T10" fmla="*/ 908 w 1696"/>
                <a:gd name="T11" fmla="*/ 1928 h 1928"/>
                <a:gd name="T12" fmla="*/ 892 w 1696"/>
                <a:gd name="T13" fmla="*/ 1922 h 1928"/>
                <a:gd name="T14" fmla="*/ 796 w 1696"/>
                <a:gd name="T15" fmla="*/ 1823 h 1928"/>
                <a:gd name="T16" fmla="*/ 796 w 1696"/>
                <a:gd name="T17" fmla="*/ 1791 h 1928"/>
                <a:gd name="T18" fmla="*/ 895 w 1696"/>
                <a:gd name="T19" fmla="*/ 1695 h 1928"/>
                <a:gd name="T20" fmla="*/ 926 w 1696"/>
                <a:gd name="T21" fmla="*/ 1695 h 1928"/>
                <a:gd name="T22" fmla="*/ 926 w 1696"/>
                <a:gd name="T23" fmla="*/ 1726 h 1928"/>
                <a:gd name="T24" fmla="*/ 864 w 1696"/>
                <a:gd name="T25" fmla="*/ 1787 h 1928"/>
                <a:gd name="T26" fmla="*/ 1650 w 1696"/>
                <a:gd name="T27" fmla="*/ 1143 h 1928"/>
                <a:gd name="T28" fmla="*/ 1677 w 1696"/>
                <a:gd name="T29" fmla="*/ 1126 h 1928"/>
                <a:gd name="T30" fmla="*/ 1693 w 1696"/>
                <a:gd name="T31" fmla="*/ 1152 h 1928"/>
                <a:gd name="T32" fmla="*/ 900 w 1696"/>
                <a:gd name="T33" fmla="*/ 107 h 1928"/>
                <a:gd name="T34" fmla="*/ 804 w 1696"/>
                <a:gd name="T35" fmla="*/ 8 h 1928"/>
                <a:gd name="T36" fmla="*/ 773 w 1696"/>
                <a:gd name="T37" fmla="*/ 8 h 1928"/>
                <a:gd name="T38" fmla="*/ 772 w 1696"/>
                <a:gd name="T39" fmla="*/ 39 h 1928"/>
                <a:gd name="T40" fmla="*/ 831 w 1696"/>
                <a:gd name="T41" fmla="*/ 99 h 1928"/>
                <a:gd name="T42" fmla="*/ 302 w 1696"/>
                <a:gd name="T43" fmla="*/ 293 h 1928"/>
                <a:gd name="T44" fmla="*/ 3 w 1696"/>
                <a:gd name="T45" fmla="*/ 778 h 1928"/>
                <a:gd name="T46" fmla="*/ 19 w 1696"/>
                <a:gd name="T47" fmla="*/ 804 h 1928"/>
                <a:gd name="T48" fmla="*/ 24 w 1696"/>
                <a:gd name="T49" fmla="*/ 804 h 1928"/>
                <a:gd name="T50" fmla="*/ 46 w 1696"/>
                <a:gd name="T51" fmla="*/ 787 h 1928"/>
                <a:gd name="T52" fmla="*/ 832 w 1696"/>
                <a:gd name="T53" fmla="*/ 143 h 1928"/>
                <a:gd name="T54" fmla="*/ 770 w 1696"/>
                <a:gd name="T55" fmla="*/ 204 h 1928"/>
                <a:gd name="T56" fmla="*/ 770 w 1696"/>
                <a:gd name="T57" fmla="*/ 235 h 1928"/>
                <a:gd name="T58" fmla="*/ 786 w 1696"/>
                <a:gd name="T59" fmla="*/ 241 h 1928"/>
                <a:gd name="T60" fmla="*/ 801 w 1696"/>
                <a:gd name="T61" fmla="*/ 235 h 1928"/>
                <a:gd name="T62" fmla="*/ 900 w 1696"/>
                <a:gd name="T63" fmla="*/ 139 h 1928"/>
                <a:gd name="T64" fmla="*/ 900 w 1696"/>
                <a:gd name="T65" fmla="*/ 107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96" h="1928">
                  <a:moveTo>
                    <a:pt x="1693" y="1152"/>
                  </a:moveTo>
                  <a:cubicBezTo>
                    <a:pt x="1652" y="1342"/>
                    <a:pt x="1545" y="1514"/>
                    <a:pt x="1394" y="1637"/>
                  </a:cubicBezTo>
                  <a:cubicBezTo>
                    <a:pt x="1245" y="1759"/>
                    <a:pt x="1057" y="1827"/>
                    <a:pt x="865" y="1831"/>
                  </a:cubicBezTo>
                  <a:cubicBezTo>
                    <a:pt x="924" y="1891"/>
                    <a:pt x="924" y="1891"/>
                    <a:pt x="924" y="1891"/>
                  </a:cubicBezTo>
                  <a:cubicBezTo>
                    <a:pt x="932" y="1900"/>
                    <a:pt x="932" y="1914"/>
                    <a:pt x="923" y="1922"/>
                  </a:cubicBezTo>
                  <a:cubicBezTo>
                    <a:pt x="919" y="1926"/>
                    <a:pt x="913" y="1928"/>
                    <a:pt x="908" y="1928"/>
                  </a:cubicBezTo>
                  <a:cubicBezTo>
                    <a:pt x="902" y="1928"/>
                    <a:pt x="896" y="1926"/>
                    <a:pt x="892" y="1922"/>
                  </a:cubicBezTo>
                  <a:cubicBezTo>
                    <a:pt x="796" y="1823"/>
                    <a:pt x="796" y="1823"/>
                    <a:pt x="796" y="1823"/>
                  </a:cubicBezTo>
                  <a:cubicBezTo>
                    <a:pt x="787" y="1814"/>
                    <a:pt x="787" y="1800"/>
                    <a:pt x="796" y="1791"/>
                  </a:cubicBezTo>
                  <a:cubicBezTo>
                    <a:pt x="895" y="1695"/>
                    <a:pt x="895" y="1695"/>
                    <a:pt x="895" y="1695"/>
                  </a:cubicBezTo>
                  <a:cubicBezTo>
                    <a:pt x="904" y="1686"/>
                    <a:pt x="918" y="1687"/>
                    <a:pt x="926" y="1695"/>
                  </a:cubicBezTo>
                  <a:cubicBezTo>
                    <a:pt x="935" y="1704"/>
                    <a:pt x="934" y="1718"/>
                    <a:pt x="926" y="1726"/>
                  </a:cubicBezTo>
                  <a:cubicBezTo>
                    <a:pt x="864" y="1787"/>
                    <a:pt x="864" y="1787"/>
                    <a:pt x="864" y="1787"/>
                  </a:cubicBezTo>
                  <a:cubicBezTo>
                    <a:pt x="1240" y="1779"/>
                    <a:pt x="1569" y="1511"/>
                    <a:pt x="1650" y="1143"/>
                  </a:cubicBezTo>
                  <a:cubicBezTo>
                    <a:pt x="1653" y="1131"/>
                    <a:pt x="1665" y="1124"/>
                    <a:pt x="1677" y="1126"/>
                  </a:cubicBezTo>
                  <a:cubicBezTo>
                    <a:pt x="1689" y="1129"/>
                    <a:pt x="1696" y="1141"/>
                    <a:pt x="1693" y="1152"/>
                  </a:cubicBezTo>
                  <a:close/>
                  <a:moveTo>
                    <a:pt x="900" y="107"/>
                  </a:moveTo>
                  <a:cubicBezTo>
                    <a:pt x="804" y="8"/>
                    <a:pt x="804" y="8"/>
                    <a:pt x="804" y="8"/>
                  </a:cubicBezTo>
                  <a:cubicBezTo>
                    <a:pt x="795" y="0"/>
                    <a:pt x="782" y="0"/>
                    <a:pt x="773" y="8"/>
                  </a:cubicBezTo>
                  <a:cubicBezTo>
                    <a:pt x="764" y="17"/>
                    <a:pt x="764" y="30"/>
                    <a:pt x="772" y="39"/>
                  </a:cubicBezTo>
                  <a:cubicBezTo>
                    <a:pt x="831" y="99"/>
                    <a:pt x="831" y="99"/>
                    <a:pt x="831" y="99"/>
                  </a:cubicBezTo>
                  <a:cubicBezTo>
                    <a:pt x="639" y="103"/>
                    <a:pt x="451" y="172"/>
                    <a:pt x="302" y="293"/>
                  </a:cubicBezTo>
                  <a:cubicBezTo>
                    <a:pt x="151" y="416"/>
                    <a:pt x="44" y="588"/>
                    <a:pt x="3" y="778"/>
                  </a:cubicBezTo>
                  <a:cubicBezTo>
                    <a:pt x="0" y="789"/>
                    <a:pt x="7" y="801"/>
                    <a:pt x="19" y="804"/>
                  </a:cubicBezTo>
                  <a:cubicBezTo>
                    <a:pt x="21" y="804"/>
                    <a:pt x="23" y="804"/>
                    <a:pt x="24" y="804"/>
                  </a:cubicBezTo>
                  <a:cubicBezTo>
                    <a:pt x="34" y="804"/>
                    <a:pt x="43" y="797"/>
                    <a:pt x="46" y="787"/>
                  </a:cubicBezTo>
                  <a:cubicBezTo>
                    <a:pt x="127" y="419"/>
                    <a:pt x="456" y="151"/>
                    <a:pt x="832" y="143"/>
                  </a:cubicBezTo>
                  <a:cubicBezTo>
                    <a:pt x="770" y="204"/>
                    <a:pt x="770" y="204"/>
                    <a:pt x="770" y="204"/>
                  </a:cubicBezTo>
                  <a:cubicBezTo>
                    <a:pt x="762" y="212"/>
                    <a:pt x="761" y="226"/>
                    <a:pt x="770" y="235"/>
                  </a:cubicBezTo>
                  <a:cubicBezTo>
                    <a:pt x="774" y="239"/>
                    <a:pt x="780" y="241"/>
                    <a:pt x="786" y="241"/>
                  </a:cubicBezTo>
                  <a:cubicBezTo>
                    <a:pt x="791" y="241"/>
                    <a:pt x="797" y="239"/>
                    <a:pt x="801" y="235"/>
                  </a:cubicBezTo>
                  <a:cubicBezTo>
                    <a:pt x="900" y="139"/>
                    <a:pt x="900" y="139"/>
                    <a:pt x="900" y="139"/>
                  </a:cubicBezTo>
                  <a:cubicBezTo>
                    <a:pt x="909" y="130"/>
                    <a:pt x="909" y="116"/>
                    <a:pt x="900" y="10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C747386E-D45F-673F-D135-50095AD508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2" y="570"/>
              <a:ext cx="3616" cy="3176"/>
            </a:xfrm>
            <a:custGeom>
              <a:avLst/>
              <a:gdLst>
                <a:gd name="T0" fmla="*/ 1922 w 1930"/>
                <a:gd name="T1" fmla="*/ 804 h 1694"/>
                <a:gd name="T2" fmla="*/ 1823 w 1930"/>
                <a:gd name="T3" fmla="*/ 900 h 1694"/>
                <a:gd name="T4" fmla="*/ 1807 w 1930"/>
                <a:gd name="T5" fmla="*/ 907 h 1694"/>
                <a:gd name="T6" fmla="*/ 1791 w 1930"/>
                <a:gd name="T7" fmla="*/ 900 h 1694"/>
                <a:gd name="T8" fmla="*/ 1695 w 1930"/>
                <a:gd name="T9" fmla="*/ 801 h 1694"/>
                <a:gd name="T10" fmla="*/ 1695 w 1930"/>
                <a:gd name="T11" fmla="*/ 770 h 1694"/>
                <a:gd name="T12" fmla="*/ 1726 w 1930"/>
                <a:gd name="T13" fmla="*/ 770 h 1694"/>
                <a:gd name="T14" fmla="*/ 1787 w 1930"/>
                <a:gd name="T15" fmla="*/ 832 h 1694"/>
                <a:gd name="T16" fmla="*/ 1143 w 1930"/>
                <a:gd name="T17" fmla="*/ 46 h 1694"/>
                <a:gd name="T18" fmla="*/ 1126 w 1930"/>
                <a:gd name="T19" fmla="*/ 19 h 1694"/>
                <a:gd name="T20" fmla="*/ 1152 w 1930"/>
                <a:gd name="T21" fmla="*/ 3 h 1694"/>
                <a:gd name="T22" fmla="*/ 1637 w 1930"/>
                <a:gd name="T23" fmla="*/ 302 h 1694"/>
                <a:gd name="T24" fmla="*/ 1831 w 1930"/>
                <a:gd name="T25" fmla="*/ 831 h 1694"/>
                <a:gd name="T26" fmla="*/ 1891 w 1930"/>
                <a:gd name="T27" fmla="*/ 772 h 1694"/>
                <a:gd name="T28" fmla="*/ 1922 w 1930"/>
                <a:gd name="T29" fmla="*/ 773 h 1694"/>
                <a:gd name="T30" fmla="*/ 1922 w 1930"/>
                <a:gd name="T31" fmla="*/ 804 h 1694"/>
                <a:gd name="T32" fmla="*/ 787 w 1930"/>
                <a:gd name="T33" fmla="*/ 1651 h 1694"/>
                <a:gd name="T34" fmla="*/ 143 w 1930"/>
                <a:gd name="T35" fmla="*/ 864 h 1694"/>
                <a:gd name="T36" fmla="*/ 204 w 1930"/>
                <a:gd name="T37" fmla="*/ 926 h 1694"/>
                <a:gd name="T38" fmla="*/ 219 w 1930"/>
                <a:gd name="T39" fmla="*/ 932 h 1694"/>
                <a:gd name="T40" fmla="*/ 235 w 1930"/>
                <a:gd name="T41" fmla="*/ 926 h 1694"/>
                <a:gd name="T42" fmla="*/ 235 w 1930"/>
                <a:gd name="T43" fmla="*/ 895 h 1694"/>
                <a:gd name="T44" fmla="*/ 139 w 1930"/>
                <a:gd name="T45" fmla="*/ 796 h 1694"/>
                <a:gd name="T46" fmla="*/ 107 w 1930"/>
                <a:gd name="T47" fmla="*/ 796 h 1694"/>
                <a:gd name="T48" fmla="*/ 8 w 1930"/>
                <a:gd name="T49" fmla="*/ 892 h 1694"/>
                <a:gd name="T50" fmla="*/ 8 w 1930"/>
                <a:gd name="T51" fmla="*/ 923 h 1694"/>
                <a:gd name="T52" fmla="*/ 39 w 1930"/>
                <a:gd name="T53" fmla="*/ 924 h 1694"/>
                <a:gd name="T54" fmla="*/ 99 w 1930"/>
                <a:gd name="T55" fmla="*/ 865 h 1694"/>
                <a:gd name="T56" fmla="*/ 293 w 1930"/>
                <a:gd name="T57" fmla="*/ 1394 h 1694"/>
                <a:gd name="T58" fmla="*/ 778 w 1930"/>
                <a:gd name="T59" fmla="*/ 1693 h 1694"/>
                <a:gd name="T60" fmla="*/ 782 w 1930"/>
                <a:gd name="T61" fmla="*/ 1694 h 1694"/>
                <a:gd name="T62" fmla="*/ 804 w 1930"/>
                <a:gd name="T63" fmla="*/ 1677 h 1694"/>
                <a:gd name="T64" fmla="*/ 787 w 1930"/>
                <a:gd name="T65" fmla="*/ 1651 h 1694"/>
                <a:gd name="T66" fmla="*/ 1473 w 1930"/>
                <a:gd name="T67" fmla="*/ 848 h 1694"/>
                <a:gd name="T68" fmla="*/ 965 w 1930"/>
                <a:gd name="T69" fmla="*/ 1356 h 1694"/>
                <a:gd name="T70" fmla="*/ 457 w 1930"/>
                <a:gd name="T71" fmla="*/ 848 h 1694"/>
                <a:gd name="T72" fmla="*/ 965 w 1930"/>
                <a:gd name="T73" fmla="*/ 340 h 1694"/>
                <a:gd name="T74" fmla="*/ 1473 w 1930"/>
                <a:gd name="T75" fmla="*/ 848 h 1694"/>
                <a:gd name="T76" fmla="*/ 1290 w 1930"/>
                <a:gd name="T77" fmla="*/ 639 h 1694"/>
                <a:gd name="T78" fmla="*/ 1259 w 1930"/>
                <a:gd name="T79" fmla="*/ 640 h 1694"/>
                <a:gd name="T80" fmla="*/ 921 w 1930"/>
                <a:gd name="T81" fmla="*/ 988 h 1694"/>
                <a:gd name="T82" fmla="*/ 735 w 1930"/>
                <a:gd name="T83" fmla="*/ 819 h 1694"/>
                <a:gd name="T84" fmla="*/ 704 w 1930"/>
                <a:gd name="T85" fmla="*/ 820 h 1694"/>
                <a:gd name="T86" fmla="*/ 705 w 1930"/>
                <a:gd name="T87" fmla="*/ 851 h 1694"/>
                <a:gd name="T88" fmla="*/ 907 w 1930"/>
                <a:gd name="T89" fmla="*/ 1035 h 1694"/>
                <a:gd name="T90" fmla="*/ 922 w 1930"/>
                <a:gd name="T91" fmla="*/ 1041 h 1694"/>
                <a:gd name="T92" fmla="*/ 937 w 1930"/>
                <a:gd name="T93" fmla="*/ 1034 h 1694"/>
                <a:gd name="T94" fmla="*/ 1290 w 1930"/>
                <a:gd name="T95" fmla="*/ 671 h 1694"/>
                <a:gd name="T96" fmla="*/ 1290 w 1930"/>
                <a:gd name="T97" fmla="*/ 639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30" h="1694">
                  <a:moveTo>
                    <a:pt x="1922" y="804"/>
                  </a:moveTo>
                  <a:cubicBezTo>
                    <a:pt x="1823" y="900"/>
                    <a:pt x="1823" y="900"/>
                    <a:pt x="1823" y="900"/>
                  </a:cubicBezTo>
                  <a:cubicBezTo>
                    <a:pt x="1818" y="905"/>
                    <a:pt x="1813" y="907"/>
                    <a:pt x="1807" y="907"/>
                  </a:cubicBezTo>
                  <a:cubicBezTo>
                    <a:pt x="1801" y="907"/>
                    <a:pt x="1796" y="904"/>
                    <a:pt x="1791" y="900"/>
                  </a:cubicBezTo>
                  <a:cubicBezTo>
                    <a:pt x="1695" y="801"/>
                    <a:pt x="1695" y="801"/>
                    <a:pt x="1695" y="801"/>
                  </a:cubicBezTo>
                  <a:cubicBezTo>
                    <a:pt x="1686" y="792"/>
                    <a:pt x="1687" y="778"/>
                    <a:pt x="1695" y="770"/>
                  </a:cubicBezTo>
                  <a:cubicBezTo>
                    <a:pt x="1704" y="761"/>
                    <a:pt x="1718" y="762"/>
                    <a:pt x="1726" y="770"/>
                  </a:cubicBezTo>
                  <a:cubicBezTo>
                    <a:pt x="1787" y="832"/>
                    <a:pt x="1787" y="832"/>
                    <a:pt x="1787" y="832"/>
                  </a:cubicBezTo>
                  <a:cubicBezTo>
                    <a:pt x="1779" y="456"/>
                    <a:pt x="1511" y="127"/>
                    <a:pt x="1143" y="46"/>
                  </a:cubicBezTo>
                  <a:cubicBezTo>
                    <a:pt x="1131" y="43"/>
                    <a:pt x="1124" y="31"/>
                    <a:pt x="1126" y="19"/>
                  </a:cubicBezTo>
                  <a:cubicBezTo>
                    <a:pt x="1129" y="8"/>
                    <a:pt x="1141" y="0"/>
                    <a:pt x="1152" y="3"/>
                  </a:cubicBezTo>
                  <a:cubicBezTo>
                    <a:pt x="1342" y="44"/>
                    <a:pt x="1514" y="151"/>
                    <a:pt x="1637" y="302"/>
                  </a:cubicBezTo>
                  <a:cubicBezTo>
                    <a:pt x="1759" y="451"/>
                    <a:pt x="1827" y="639"/>
                    <a:pt x="1831" y="831"/>
                  </a:cubicBezTo>
                  <a:cubicBezTo>
                    <a:pt x="1891" y="772"/>
                    <a:pt x="1891" y="772"/>
                    <a:pt x="1891" y="772"/>
                  </a:cubicBezTo>
                  <a:cubicBezTo>
                    <a:pt x="1900" y="764"/>
                    <a:pt x="1914" y="764"/>
                    <a:pt x="1922" y="773"/>
                  </a:cubicBezTo>
                  <a:cubicBezTo>
                    <a:pt x="1930" y="781"/>
                    <a:pt x="1930" y="795"/>
                    <a:pt x="1922" y="804"/>
                  </a:cubicBezTo>
                  <a:close/>
                  <a:moveTo>
                    <a:pt x="787" y="1651"/>
                  </a:moveTo>
                  <a:cubicBezTo>
                    <a:pt x="419" y="1569"/>
                    <a:pt x="151" y="1240"/>
                    <a:pt x="143" y="864"/>
                  </a:cubicBezTo>
                  <a:cubicBezTo>
                    <a:pt x="204" y="926"/>
                    <a:pt x="204" y="926"/>
                    <a:pt x="204" y="926"/>
                  </a:cubicBezTo>
                  <a:cubicBezTo>
                    <a:pt x="208" y="930"/>
                    <a:pt x="214" y="932"/>
                    <a:pt x="219" y="932"/>
                  </a:cubicBezTo>
                  <a:cubicBezTo>
                    <a:pt x="225" y="932"/>
                    <a:pt x="230" y="930"/>
                    <a:pt x="235" y="926"/>
                  </a:cubicBezTo>
                  <a:cubicBezTo>
                    <a:pt x="243" y="918"/>
                    <a:pt x="244" y="904"/>
                    <a:pt x="235" y="895"/>
                  </a:cubicBezTo>
                  <a:cubicBezTo>
                    <a:pt x="139" y="796"/>
                    <a:pt x="139" y="796"/>
                    <a:pt x="139" y="796"/>
                  </a:cubicBezTo>
                  <a:cubicBezTo>
                    <a:pt x="130" y="787"/>
                    <a:pt x="116" y="787"/>
                    <a:pt x="107" y="796"/>
                  </a:cubicBezTo>
                  <a:cubicBezTo>
                    <a:pt x="8" y="892"/>
                    <a:pt x="8" y="892"/>
                    <a:pt x="8" y="892"/>
                  </a:cubicBezTo>
                  <a:cubicBezTo>
                    <a:pt x="0" y="901"/>
                    <a:pt x="0" y="915"/>
                    <a:pt x="8" y="923"/>
                  </a:cubicBezTo>
                  <a:cubicBezTo>
                    <a:pt x="16" y="932"/>
                    <a:pt x="30" y="932"/>
                    <a:pt x="39" y="924"/>
                  </a:cubicBezTo>
                  <a:cubicBezTo>
                    <a:pt x="99" y="865"/>
                    <a:pt x="99" y="865"/>
                    <a:pt x="99" y="865"/>
                  </a:cubicBezTo>
                  <a:cubicBezTo>
                    <a:pt x="103" y="1057"/>
                    <a:pt x="172" y="1245"/>
                    <a:pt x="293" y="1394"/>
                  </a:cubicBezTo>
                  <a:cubicBezTo>
                    <a:pt x="416" y="1545"/>
                    <a:pt x="588" y="1652"/>
                    <a:pt x="778" y="1693"/>
                  </a:cubicBezTo>
                  <a:cubicBezTo>
                    <a:pt x="779" y="1694"/>
                    <a:pt x="781" y="1694"/>
                    <a:pt x="782" y="1694"/>
                  </a:cubicBezTo>
                  <a:cubicBezTo>
                    <a:pt x="792" y="1694"/>
                    <a:pt x="802" y="1687"/>
                    <a:pt x="804" y="1677"/>
                  </a:cubicBezTo>
                  <a:cubicBezTo>
                    <a:pt x="806" y="1665"/>
                    <a:pt x="799" y="1653"/>
                    <a:pt x="787" y="1651"/>
                  </a:cubicBezTo>
                  <a:close/>
                  <a:moveTo>
                    <a:pt x="1473" y="848"/>
                  </a:moveTo>
                  <a:cubicBezTo>
                    <a:pt x="1473" y="1129"/>
                    <a:pt x="1246" y="1356"/>
                    <a:pt x="965" y="1356"/>
                  </a:cubicBezTo>
                  <a:cubicBezTo>
                    <a:pt x="684" y="1356"/>
                    <a:pt x="457" y="1129"/>
                    <a:pt x="457" y="848"/>
                  </a:cubicBezTo>
                  <a:cubicBezTo>
                    <a:pt x="457" y="567"/>
                    <a:pt x="684" y="340"/>
                    <a:pt x="965" y="340"/>
                  </a:cubicBezTo>
                  <a:cubicBezTo>
                    <a:pt x="1246" y="340"/>
                    <a:pt x="1473" y="567"/>
                    <a:pt x="1473" y="848"/>
                  </a:cubicBezTo>
                  <a:close/>
                  <a:moveTo>
                    <a:pt x="1290" y="639"/>
                  </a:moveTo>
                  <a:cubicBezTo>
                    <a:pt x="1281" y="631"/>
                    <a:pt x="1267" y="631"/>
                    <a:pt x="1259" y="640"/>
                  </a:cubicBezTo>
                  <a:cubicBezTo>
                    <a:pt x="921" y="988"/>
                    <a:pt x="921" y="988"/>
                    <a:pt x="921" y="988"/>
                  </a:cubicBezTo>
                  <a:cubicBezTo>
                    <a:pt x="735" y="819"/>
                    <a:pt x="735" y="819"/>
                    <a:pt x="735" y="819"/>
                  </a:cubicBezTo>
                  <a:cubicBezTo>
                    <a:pt x="726" y="810"/>
                    <a:pt x="712" y="811"/>
                    <a:pt x="704" y="820"/>
                  </a:cubicBezTo>
                  <a:cubicBezTo>
                    <a:pt x="696" y="829"/>
                    <a:pt x="696" y="843"/>
                    <a:pt x="705" y="851"/>
                  </a:cubicBezTo>
                  <a:cubicBezTo>
                    <a:pt x="907" y="1035"/>
                    <a:pt x="907" y="1035"/>
                    <a:pt x="907" y="1035"/>
                  </a:cubicBezTo>
                  <a:cubicBezTo>
                    <a:pt x="911" y="1039"/>
                    <a:pt x="916" y="1041"/>
                    <a:pt x="922" y="1041"/>
                  </a:cubicBezTo>
                  <a:cubicBezTo>
                    <a:pt x="927" y="1041"/>
                    <a:pt x="933" y="1039"/>
                    <a:pt x="937" y="1034"/>
                  </a:cubicBezTo>
                  <a:cubicBezTo>
                    <a:pt x="1290" y="671"/>
                    <a:pt x="1290" y="671"/>
                    <a:pt x="1290" y="671"/>
                  </a:cubicBezTo>
                  <a:cubicBezTo>
                    <a:pt x="1299" y="662"/>
                    <a:pt x="1299" y="648"/>
                    <a:pt x="1290" y="6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984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BAB10ADA-026F-E775-8DB1-57B6E896BB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723"/>
          <a:stretch/>
        </p:blipFill>
        <p:spPr>
          <a:xfrm>
            <a:off x="1116863" y="863690"/>
            <a:ext cx="6125325" cy="2058067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77796"/>
          </a:xfrm>
        </p:spPr>
        <p:txBody>
          <a:bodyPr vert="horz"/>
          <a:lstStyle/>
          <a:p>
            <a:r>
              <a:rPr lang="en-GB" dirty="0">
                <a:cs typeface="Arial"/>
              </a:rPr>
              <a:t>Data exploration: Understanding our data in dept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">
            <a:extLst>
              <a:ext uri="{FF2B5EF4-FFF2-40B4-BE49-F238E27FC236}">
                <a16:creationId xmlns:a16="http://schemas.microsoft.com/office/drawing/2014/main" id="{06A788A6-E0F9-E20E-ADAD-6AB5C07610DA}"/>
              </a:ext>
            </a:extLst>
          </p:cNvPr>
          <p:cNvSpPr txBox="1"/>
          <p:nvPr/>
        </p:nvSpPr>
        <p:spPr>
          <a:xfrm>
            <a:off x="1189829" y="524701"/>
            <a:ext cx="2722622" cy="47064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13999"/>
              </a:lnSpc>
            </a:pPr>
            <a:endParaRPr lang="en-US" sz="1400" b="1" dirty="0">
              <a:latin typeface="Arial"/>
              <a:cs typeface="Arial"/>
            </a:endParaRPr>
          </a:p>
          <a:p>
            <a:pPr>
              <a:lnSpc>
                <a:spcPct val="113999"/>
              </a:lnSpc>
            </a:pPr>
            <a:r>
              <a:rPr lang="en-US" sz="1400" b="1" dirty="0">
                <a:latin typeface="Arial"/>
                <a:cs typeface="Arial"/>
              </a:rPr>
              <a:t>Pixel </a:t>
            </a:r>
            <a:r>
              <a:rPr lang="en-US" sz="1400" b="1">
                <a:latin typeface="Arial"/>
                <a:cs typeface="Arial"/>
              </a:rPr>
              <a:t>intensity distributions</a:t>
            </a:r>
            <a:endParaRPr lang="en-US" dirty="0"/>
          </a:p>
        </p:txBody>
      </p:sp>
      <p:pic>
        <p:nvPicPr>
          <p:cNvPr id="18" name="Picture 18" descr="Chart, bar chart&#10;&#10;Description automatically generated">
            <a:extLst>
              <a:ext uri="{FF2B5EF4-FFF2-40B4-BE49-F238E27FC236}">
                <a16:creationId xmlns:a16="http://schemas.microsoft.com/office/drawing/2014/main" id="{B17C8467-1495-9D18-AAD9-860B4322E1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4885" y="3033063"/>
            <a:ext cx="2484408" cy="1641642"/>
          </a:xfrm>
          <a:prstGeom prst="rect">
            <a:avLst/>
          </a:prstGeom>
        </p:spPr>
      </p:pic>
      <p:pic>
        <p:nvPicPr>
          <p:cNvPr id="5" name="Picture 5" descr="Chart, histogram&#10;&#10;Description automatically generated">
            <a:extLst>
              <a:ext uri="{FF2B5EF4-FFF2-40B4-BE49-F238E27FC236}">
                <a16:creationId xmlns:a16="http://schemas.microsoft.com/office/drawing/2014/main" id="{5B09A967-F0AF-51EA-F99F-5B1FD8DC3D7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14855" y="3033063"/>
            <a:ext cx="2459055" cy="1645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35C2129-EC3F-BFF4-6B6E-6C255C89E03F}"/>
              </a:ext>
            </a:extLst>
          </p:cNvPr>
          <p:cNvSpPr txBox="1"/>
          <p:nvPr/>
        </p:nvSpPr>
        <p:spPr>
          <a:xfrm>
            <a:off x="4491067" y="3033063"/>
            <a:ext cx="2225617" cy="120744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b="1" dirty="0">
                <a:latin typeface="+mn-lt"/>
                <a:cs typeface="Segoe UI"/>
              </a:rPr>
              <a:t>Image </a:t>
            </a:r>
            <a:r>
              <a:rPr lang="en-US" sz="1400" b="1">
                <a:latin typeface="+mn-lt"/>
                <a:cs typeface="Segoe UI"/>
              </a:rPr>
              <a:t>size</a:t>
            </a:r>
            <a:r>
              <a:rPr lang="en-US" sz="1400" b="1" dirty="0">
                <a:latin typeface="+mn-lt"/>
                <a:cs typeface="Segoe UI"/>
              </a:rPr>
              <a:t>:</a:t>
            </a:r>
            <a:r>
              <a:rPr lang="en-US" sz="1400" dirty="0">
                <a:latin typeface="+mn-lt"/>
                <a:cs typeface="Segoe UI"/>
              </a:rPr>
              <a:t>​</a:t>
            </a:r>
          </a:p>
          <a:p>
            <a:pPr marL="285750" indent="-285750">
              <a:lnSpc>
                <a:spcPct val="114000"/>
              </a:lnSpc>
              <a:buFont typeface="Arial"/>
              <a:buChar char="•"/>
            </a:pPr>
            <a:r>
              <a:rPr lang="en-US" sz="1400" dirty="0">
                <a:latin typeface="+mn-lt"/>
                <a:cs typeface="Arial"/>
              </a:rPr>
              <a:t>Large </a:t>
            </a:r>
            <a:r>
              <a:rPr lang="en-US" sz="1400">
                <a:latin typeface="+mn-lt"/>
                <a:cs typeface="Arial"/>
              </a:rPr>
              <a:t>images</a:t>
            </a:r>
          </a:p>
          <a:p>
            <a:pPr>
              <a:lnSpc>
                <a:spcPct val="114000"/>
              </a:lnSpc>
            </a:pPr>
            <a:r>
              <a:rPr lang="en-US" sz="1400">
                <a:latin typeface="+mn-lt"/>
                <a:cs typeface="Arial"/>
              </a:rPr>
              <a:t>	</a:t>
            </a:r>
            <a:r>
              <a:rPr lang="en-US" sz="1400">
                <a:latin typeface="+mn-lt"/>
                <a:cs typeface="Arial"/>
                <a:sym typeface="Wingdings" pitchFamily="2" charset="2"/>
              </a:rPr>
              <a:t> rim</a:t>
            </a:r>
            <a:endParaRPr lang="en-US" sz="1400">
              <a:latin typeface="+mn-lt"/>
              <a:cs typeface="Arial"/>
            </a:endParaRPr>
          </a:p>
          <a:p>
            <a:pPr marL="285750" indent="-285750">
              <a:lnSpc>
                <a:spcPct val="114000"/>
              </a:lnSpc>
              <a:buFont typeface="Arial"/>
              <a:buChar char="•"/>
            </a:pPr>
            <a:r>
              <a:rPr lang="en-US" sz="1400">
                <a:latin typeface="Arial"/>
                <a:cs typeface="Arial"/>
              </a:rPr>
              <a:t>Elongated images</a:t>
            </a:r>
          </a:p>
          <a:p>
            <a:pPr>
              <a:lnSpc>
                <a:spcPct val="114000"/>
              </a:lnSpc>
            </a:pPr>
            <a:r>
              <a:rPr lang="en-US" sz="1400">
                <a:latin typeface="Arial"/>
                <a:cs typeface="Arial"/>
              </a:rPr>
              <a:t>	</a:t>
            </a:r>
            <a:r>
              <a:rPr lang="en-US" sz="1400">
                <a:latin typeface="Arial"/>
                <a:cs typeface="Arial"/>
                <a:sym typeface="Wingdings" pitchFamily="2" charset="2"/>
              </a:rPr>
              <a:t> scratch</a:t>
            </a:r>
            <a:endParaRPr lang="en-US" sz="1400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12152D-BFB9-C118-5A95-8F481CBE22B4}"/>
              </a:ext>
            </a:extLst>
          </p:cNvPr>
          <p:cNvSpPr txBox="1"/>
          <p:nvPr/>
        </p:nvSpPr>
        <p:spPr>
          <a:xfrm>
            <a:off x="209024" y="3033063"/>
            <a:ext cx="2047762" cy="7162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b="1">
                <a:latin typeface="+mn-lt"/>
                <a:cs typeface="Segoe UI"/>
              </a:rPr>
              <a:t>Dataset skewedness:</a:t>
            </a:r>
          </a:p>
          <a:p>
            <a:pPr marL="285750" indent="-285750">
              <a:lnSpc>
                <a:spcPct val="113999"/>
              </a:lnSpc>
              <a:buFont typeface="Arial"/>
              <a:buChar char="•"/>
            </a:pPr>
            <a:r>
              <a:rPr lang="en-US" sz="1400">
                <a:latin typeface="+mn-lt"/>
                <a:cs typeface="Segoe UI"/>
              </a:rPr>
              <a:t>Three times more dents than others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EA488E54-D175-AEDB-3B1B-D117EC2757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pl-PL" b="1">
                <a:latin typeface="Arial"/>
                <a:cs typeface="Arial"/>
              </a:rPr>
              <a:t>Pre</a:t>
            </a:r>
            <a:r>
              <a:rPr lang="de-DE" b="1">
                <a:latin typeface="Arial"/>
                <a:cs typeface="Arial"/>
              </a:rPr>
              <a:t>-</a:t>
            </a:r>
            <a:r>
              <a:rPr lang="pl-PL" b="1">
                <a:latin typeface="Arial"/>
                <a:cs typeface="Arial"/>
              </a:rPr>
              <a:t>process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◻︎ </a:t>
            </a:r>
            <a:r>
              <a:rPr lang="de-DE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58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GB" dirty="0">
                <a:cs typeface="Arial"/>
              </a:rPr>
              <a:t>Baseline model using hand engineered featur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">
            <a:extLst>
              <a:ext uri="{FF2B5EF4-FFF2-40B4-BE49-F238E27FC236}">
                <a16:creationId xmlns:a16="http://schemas.microsoft.com/office/drawing/2014/main" id="{06A788A6-E0F9-E20E-ADAD-6AB5C07610DA}"/>
              </a:ext>
            </a:extLst>
          </p:cNvPr>
          <p:cNvSpPr txBox="1"/>
          <p:nvPr/>
        </p:nvSpPr>
        <p:spPr>
          <a:xfrm>
            <a:off x="574494" y="860681"/>
            <a:ext cx="2722622" cy="22506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13999"/>
              </a:lnSpc>
            </a:pPr>
            <a:r>
              <a:rPr lang="en-US" sz="1400" b="1" dirty="0">
                <a:latin typeface="Arial"/>
                <a:cs typeface="Arial"/>
              </a:rPr>
              <a:t>“Bag of words”</a:t>
            </a:r>
            <a:endParaRPr lang="en-US" dirty="0"/>
          </a:p>
        </p:txBody>
      </p:sp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5A8941C4-C889-2CAA-0BCA-6BA8E98E18B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7554" b="24721"/>
          <a:stretch/>
        </p:blipFill>
        <p:spPr>
          <a:xfrm>
            <a:off x="574494" y="3583509"/>
            <a:ext cx="3237598" cy="91067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05CC1B8-459D-98DB-72F0-9F95A08F350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62275"/>
          <a:stretch/>
        </p:blipFill>
        <p:spPr>
          <a:xfrm>
            <a:off x="574494" y="1212527"/>
            <a:ext cx="2619098" cy="736700"/>
          </a:xfrm>
          <a:prstGeom prst="rect">
            <a:avLst/>
          </a:prstGeom>
        </p:spPr>
      </p:pic>
      <p:pic>
        <p:nvPicPr>
          <p:cNvPr id="17" name="Picture 16" descr="Diagram&#10;&#10;Description automatically generated">
            <a:extLst>
              <a:ext uri="{FF2B5EF4-FFF2-40B4-BE49-F238E27FC236}">
                <a16:creationId xmlns:a16="http://schemas.microsoft.com/office/drawing/2014/main" id="{7668F423-E936-386E-A509-23293E7540D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6867"/>
          <a:stretch/>
        </p:blipFill>
        <p:spPr>
          <a:xfrm>
            <a:off x="574494" y="2507845"/>
            <a:ext cx="3312048" cy="571262"/>
          </a:xfrm>
          <a:prstGeom prst="rect">
            <a:avLst/>
          </a:prstGeom>
        </p:spPr>
      </p:pic>
      <p:cxnSp>
        <p:nvCxnSpPr>
          <p:cNvPr id="19" name="Gerade Verbindung mit Pfeil 75">
            <a:extLst>
              <a:ext uri="{FF2B5EF4-FFF2-40B4-BE49-F238E27FC236}">
                <a16:creationId xmlns:a16="http://schemas.microsoft.com/office/drawing/2014/main" id="{CFBE7BB3-1245-AF24-3B30-B6726ED3E3B0}"/>
              </a:ext>
            </a:extLst>
          </p:cNvPr>
          <p:cNvCxnSpPr>
            <a:cxnSpLocks/>
          </p:cNvCxnSpPr>
          <p:nvPr/>
        </p:nvCxnSpPr>
        <p:spPr>
          <a:xfrm>
            <a:off x="1934866" y="2085332"/>
            <a:ext cx="1" cy="226828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75">
            <a:extLst>
              <a:ext uri="{FF2B5EF4-FFF2-40B4-BE49-F238E27FC236}">
                <a16:creationId xmlns:a16="http://schemas.microsoft.com/office/drawing/2014/main" id="{08D30FB7-365E-BAEC-ED3A-5E232FBD5B16}"/>
              </a:ext>
            </a:extLst>
          </p:cNvPr>
          <p:cNvCxnSpPr>
            <a:cxnSpLocks/>
          </p:cNvCxnSpPr>
          <p:nvPr/>
        </p:nvCxnSpPr>
        <p:spPr>
          <a:xfrm>
            <a:off x="1933165" y="3217478"/>
            <a:ext cx="1" cy="226828"/>
          </a:xfrm>
          <a:prstGeom prst="straightConnector1">
            <a:avLst/>
          </a:prstGeom>
          <a:ln w="25400" cmpd="sng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9">
            <a:extLst>
              <a:ext uri="{FF2B5EF4-FFF2-40B4-BE49-F238E27FC236}">
                <a16:creationId xmlns:a16="http://schemas.microsoft.com/office/drawing/2014/main" id="{C1BF9EBA-CA5D-40CE-D70F-9526723CD054}"/>
              </a:ext>
            </a:extLst>
          </p:cNvPr>
          <p:cNvSpPr txBox="1"/>
          <p:nvPr/>
        </p:nvSpPr>
        <p:spPr>
          <a:xfrm>
            <a:off x="2067412" y="2088993"/>
            <a:ext cx="1404584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>
                <a:latin typeface="Arial"/>
                <a:cs typeface="Arial"/>
              </a:rPr>
              <a:t>Extract features</a:t>
            </a:r>
            <a:endParaRPr lang="en-US" sz="1400"/>
          </a:p>
        </p:txBody>
      </p:sp>
      <p:sp>
        <p:nvSpPr>
          <p:cNvPr id="24" name="Textfeld 9">
            <a:extLst>
              <a:ext uri="{FF2B5EF4-FFF2-40B4-BE49-F238E27FC236}">
                <a16:creationId xmlns:a16="http://schemas.microsoft.com/office/drawing/2014/main" id="{F0AFE03C-2478-2FF4-14A1-0C4D5315803E}"/>
              </a:ext>
            </a:extLst>
          </p:cNvPr>
          <p:cNvSpPr txBox="1"/>
          <p:nvPr/>
        </p:nvSpPr>
        <p:spPr>
          <a:xfrm>
            <a:off x="2067412" y="3221139"/>
            <a:ext cx="1955257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>
                <a:latin typeface="Arial"/>
                <a:cs typeface="Arial"/>
              </a:rPr>
              <a:t>Represent occurrences</a:t>
            </a:r>
            <a:endParaRPr lang="en-US" sz="1400"/>
          </a:p>
        </p:txBody>
      </p:sp>
      <p:sp>
        <p:nvSpPr>
          <p:cNvPr id="25" name="Plus Sign 24">
            <a:extLst>
              <a:ext uri="{FF2B5EF4-FFF2-40B4-BE49-F238E27FC236}">
                <a16:creationId xmlns:a16="http://schemas.microsoft.com/office/drawing/2014/main" id="{13ED8336-F511-B425-08A0-C235563F0160}"/>
              </a:ext>
            </a:extLst>
          </p:cNvPr>
          <p:cNvSpPr/>
          <p:nvPr/>
        </p:nvSpPr>
        <p:spPr>
          <a:xfrm>
            <a:off x="4074707" y="2519144"/>
            <a:ext cx="464900" cy="464900"/>
          </a:xfrm>
          <a:prstGeom prst="mathPlus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28" name="Textfeld 9">
            <a:extLst>
              <a:ext uri="{FF2B5EF4-FFF2-40B4-BE49-F238E27FC236}">
                <a16:creationId xmlns:a16="http://schemas.microsoft.com/office/drawing/2014/main" id="{9D6CD6E0-1E3F-D813-F2E2-379F3EF95B25}"/>
              </a:ext>
            </a:extLst>
          </p:cNvPr>
          <p:cNvSpPr txBox="1"/>
          <p:nvPr/>
        </p:nvSpPr>
        <p:spPr>
          <a:xfrm>
            <a:off x="4939642" y="1756225"/>
            <a:ext cx="1452035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>
                <a:latin typeface="Arial"/>
                <a:cs typeface="Arial"/>
              </a:rPr>
              <a:t>Color distribution</a:t>
            </a:r>
            <a:endParaRPr lang="en-US" sz="1400"/>
          </a:p>
        </p:txBody>
      </p:sp>
      <p:sp>
        <p:nvSpPr>
          <p:cNvPr id="29" name="Textfeld 9">
            <a:extLst>
              <a:ext uri="{FF2B5EF4-FFF2-40B4-BE49-F238E27FC236}">
                <a16:creationId xmlns:a16="http://schemas.microsoft.com/office/drawing/2014/main" id="{0F5DD725-F340-AFD7-775E-20523719E604}"/>
              </a:ext>
            </a:extLst>
          </p:cNvPr>
          <p:cNvSpPr txBox="1"/>
          <p:nvPr/>
        </p:nvSpPr>
        <p:spPr>
          <a:xfrm>
            <a:off x="4939642" y="2220266"/>
            <a:ext cx="1452035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>
                <a:latin typeface="Arial"/>
                <a:cs typeface="Arial"/>
              </a:rPr>
              <a:t>Image area</a:t>
            </a:r>
            <a:endParaRPr lang="en-US" sz="1400"/>
          </a:p>
        </p:txBody>
      </p:sp>
      <p:sp>
        <p:nvSpPr>
          <p:cNvPr id="30" name="Textfeld 9">
            <a:extLst>
              <a:ext uri="{FF2B5EF4-FFF2-40B4-BE49-F238E27FC236}">
                <a16:creationId xmlns:a16="http://schemas.microsoft.com/office/drawing/2014/main" id="{0D003D05-F3D7-5E00-BFC3-8212D82033C0}"/>
              </a:ext>
            </a:extLst>
          </p:cNvPr>
          <p:cNvSpPr txBox="1"/>
          <p:nvPr/>
        </p:nvSpPr>
        <p:spPr>
          <a:xfrm>
            <a:off x="4939642" y="2684307"/>
            <a:ext cx="1452035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 dirty="0">
                <a:latin typeface="Arial"/>
                <a:cs typeface="Arial"/>
              </a:rPr>
              <a:t>Image ratio</a:t>
            </a:r>
            <a:endParaRPr lang="en-US" sz="1400" dirty="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90A6EB8-7950-FFAE-2ECA-B2E8397D1D7E}"/>
              </a:ext>
            </a:extLst>
          </p:cNvPr>
          <p:cNvCxnSpPr>
            <a:cxnSpLocks/>
          </p:cNvCxnSpPr>
          <p:nvPr/>
        </p:nvCxnSpPr>
        <p:spPr>
          <a:xfrm flipV="1">
            <a:off x="5398598" y="3148347"/>
            <a:ext cx="0" cy="178684"/>
          </a:xfrm>
          <a:prstGeom prst="straightConnector1">
            <a:avLst/>
          </a:prstGeom>
          <a:ln cap="rnd">
            <a:solidFill>
              <a:schemeClr val="tx1"/>
            </a:solidFill>
            <a:prstDash val="sysDot"/>
            <a:tailEnd type="none"/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8" name="TextBox 1">
            <a:extLst>
              <a:ext uri="{FF2B5EF4-FFF2-40B4-BE49-F238E27FC236}">
                <a16:creationId xmlns:a16="http://schemas.microsoft.com/office/drawing/2014/main" id="{C8734700-EEF9-A264-6215-A9BDB548CF10}"/>
              </a:ext>
            </a:extLst>
          </p:cNvPr>
          <p:cNvSpPr txBox="1"/>
          <p:nvPr/>
        </p:nvSpPr>
        <p:spPr>
          <a:xfrm>
            <a:off x="4168448" y="860681"/>
            <a:ext cx="2649470" cy="22506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lnSpc>
                <a:spcPct val="113999"/>
              </a:lnSpc>
            </a:pPr>
            <a:r>
              <a:rPr lang="en-US" sz="1400" b="1" dirty="0">
                <a:latin typeface="Arial"/>
                <a:cs typeface="Arial"/>
              </a:rPr>
              <a:t>Previous feature extraction</a:t>
            </a:r>
            <a:endParaRPr lang="en-US" dirty="0"/>
          </a:p>
        </p:txBody>
      </p:sp>
      <p:sp>
        <p:nvSpPr>
          <p:cNvPr id="40" name="Textfeld 9">
            <a:extLst>
              <a:ext uri="{FF2B5EF4-FFF2-40B4-BE49-F238E27FC236}">
                <a16:creationId xmlns:a16="http://schemas.microsoft.com/office/drawing/2014/main" id="{A93DEAC4-04E4-0738-97CE-85003A901D73}"/>
              </a:ext>
            </a:extLst>
          </p:cNvPr>
          <p:cNvSpPr txBox="1"/>
          <p:nvPr/>
        </p:nvSpPr>
        <p:spPr>
          <a:xfrm>
            <a:off x="6972886" y="2579806"/>
            <a:ext cx="2147230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400" dirty="0">
                <a:latin typeface="Arial"/>
                <a:cs typeface="Arial"/>
              </a:rPr>
              <a:t>Support Vector Machine</a:t>
            </a:r>
            <a:endParaRPr lang="en-US" sz="1400" dirty="0"/>
          </a:p>
        </p:txBody>
      </p:sp>
      <p:sp>
        <p:nvSpPr>
          <p:cNvPr id="41" name="Textfeld 9">
            <a:extLst>
              <a:ext uri="{FF2B5EF4-FFF2-40B4-BE49-F238E27FC236}">
                <a16:creationId xmlns:a16="http://schemas.microsoft.com/office/drawing/2014/main" id="{68ADBF9B-7111-641C-BC3B-6D235F38384F}"/>
              </a:ext>
            </a:extLst>
          </p:cNvPr>
          <p:cNvSpPr txBox="1"/>
          <p:nvPr/>
        </p:nvSpPr>
        <p:spPr>
          <a:xfrm>
            <a:off x="7325957" y="2871352"/>
            <a:ext cx="1441087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≈ </a:t>
            </a:r>
            <a:r>
              <a:rPr lang="en-US" sz="1400" dirty="0">
                <a:latin typeface="Arial"/>
                <a:cs typeface="Arial"/>
              </a:rPr>
              <a:t>70% Accuracy</a:t>
            </a:r>
            <a:endParaRPr lang="en-US" sz="1400" dirty="0"/>
          </a:p>
        </p:txBody>
      </p:sp>
      <p:sp>
        <p:nvSpPr>
          <p:cNvPr id="42" name="Right Brace 41">
            <a:extLst>
              <a:ext uri="{FF2B5EF4-FFF2-40B4-BE49-F238E27FC236}">
                <a16:creationId xmlns:a16="http://schemas.microsoft.com/office/drawing/2014/main" id="{F5FFB2D6-BA9E-A874-B74A-735CC2C78DDC}"/>
              </a:ext>
            </a:extLst>
          </p:cNvPr>
          <p:cNvSpPr/>
          <p:nvPr/>
        </p:nvSpPr>
        <p:spPr>
          <a:xfrm>
            <a:off x="6705020" y="1379286"/>
            <a:ext cx="232407" cy="3064664"/>
          </a:xfrm>
          <a:custGeom>
            <a:avLst/>
            <a:gdLst>
              <a:gd name="connsiteX0" fmla="*/ 0 w 232407"/>
              <a:gd name="connsiteY0" fmla="*/ 0 h 3064664"/>
              <a:gd name="connsiteX1" fmla="*/ 116203 w 232407"/>
              <a:gd name="connsiteY1" fmla="*/ 21009 h 3064664"/>
              <a:gd name="connsiteX2" fmla="*/ 116203 w 232407"/>
              <a:gd name="connsiteY2" fmla="*/ 1511322 h 3064664"/>
              <a:gd name="connsiteX3" fmla="*/ 232407 w 232407"/>
              <a:gd name="connsiteY3" fmla="*/ 1532332 h 3064664"/>
              <a:gd name="connsiteX4" fmla="*/ 116203 w 232407"/>
              <a:gd name="connsiteY4" fmla="*/ 1553341 h 3064664"/>
              <a:gd name="connsiteX5" fmla="*/ 116203 w 232407"/>
              <a:gd name="connsiteY5" fmla="*/ 3043654 h 3064664"/>
              <a:gd name="connsiteX6" fmla="*/ 0 w 232407"/>
              <a:gd name="connsiteY6" fmla="*/ 3064664 h 3064664"/>
              <a:gd name="connsiteX7" fmla="*/ 0 w 232407"/>
              <a:gd name="connsiteY7" fmla="*/ 0 h 3064664"/>
              <a:gd name="connsiteX0" fmla="*/ 0 w 232407"/>
              <a:gd name="connsiteY0" fmla="*/ 0 h 3064664"/>
              <a:gd name="connsiteX1" fmla="*/ 116203 w 232407"/>
              <a:gd name="connsiteY1" fmla="*/ 21009 h 3064664"/>
              <a:gd name="connsiteX2" fmla="*/ 116203 w 232407"/>
              <a:gd name="connsiteY2" fmla="*/ 1511322 h 3064664"/>
              <a:gd name="connsiteX3" fmla="*/ 232407 w 232407"/>
              <a:gd name="connsiteY3" fmla="*/ 1532332 h 3064664"/>
              <a:gd name="connsiteX4" fmla="*/ 116203 w 232407"/>
              <a:gd name="connsiteY4" fmla="*/ 1553341 h 3064664"/>
              <a:gd name="connsiteX5" fmla="*/ 116203 w 232407"/>
              <a:gd name="connsiteY5" fmla="*/ 3043654 h 3064664"/>
              <a:gd name="connsiteX6" fmla="*/ 0 w 232407"/>
              <a:gd name="connsiteY6" fmla="*/ 3064664 h 3064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2407" h="3064664" stroke="0" extrusionOk="0">
                <a:moveTo>
                  <a:pt x="0" y="0"/>
                </a:moveTo>
                <a:cubicBezTo>
                  <a:pt x="60538" y="-2340"/>
                  <a:pt x="114706" y="10000"/>
                  <a:pt x="116203" y="21009"/>
                </a:cubicBezTo>
                <a:cubicBezTo>
                  <a:pt x="144956" y="383788"/>
                  <a:pt x="97041" y="1102173"/>
                  <a:pt x="116203" y="1511322"/>
                </a:cubicBezTo>
                <a:cubicBezTo>
                  <a:pt x="111500" y="1527864"/>
                  <a:pt x="166232" y="1543998"/>
                  <a:pt x="232407" y="1532332"/>
                </a:cubicBezTo>
                <a:cubicBezTo>
                  <a:pt x="166393" y="1531312"/>
                  <a:pt x="119317" y="1543292"/>
                  <a:pt x="116203" y="1553341"/>
                </a:cubicBezTo>
                <a:cubicBezTo>
                  <a:pt x="126192" y="1792097"/>
                  <a:pt x="48129" y="2590213"/>
                  <a:pt x="116203" y="3043654"/>
                </a:cubicBezTo>
                <a:cubicBezTo>
                  <a:pt x="101049" y="3052828"/>
                  <a:pt x="53061" y="3075708"/>
                  <a:pt x="0" y="3064664"/>
                </a:cubicBezTo>
                <a:cubicBezTo>
                  <a:pt x="48781" y="1821591"/>
                  <a:pt x="-101746" y="1202262"/>
                  <a:pt x="0" y="0"/>
                </a:cubicBezTo>
                <a:close/>
              </a:path>
              <a:path w="232407" h="3064664" fill="none" extrusionOk="0">
                <a:moveTo>
                  <a:pt x="0" y="0"/>
                </a:moveTo>
                <a:cubicBezTo>
                  <a:pt x="65651" y="878"/>
                  <a:pt x="119312" y="10172"/>
                  <a:pt x="116203" y="21009"/>
                </a:cubicBezTo>
                <a:cubicBezTo>
                  <a:pt x="-21064" y="725783"/>
                  <a:pt x="205070" y="1144944"/>
                  <a:pt x="116203" y="1511322"/>
                </a:cubicBezTo>
                <a:cubicBezTo>
                  <a:pt x="126917" y="1539576"/>
                  <a:pt x="168988" y="1540656"/>
                  <a:pt x="232407" y="1532332"/>
                </a:cubicBezTo>
                <a:cubicBezTo>
                  <a:pt x="168630" y="1532982"/>
                  <a:pt x="116634" y="1542298"/>
                  <a:pt x="116203" y="1553341"/>
                </a:cubicBezTo>
                <a:cubicBezTo>
                  <a:pt x="39922" y="1830688"/>
                  <a:pt x="167847" y="2372048"/>
                  <a:pt x="116203" y="3043654"/>
                </a:cubicBezTo>
                <a:cubicBezTo>
                  <a:pt x="112429" y="3055891"/>
                  <a:pt x="53775" y="3057225"/>
                  <a:pt x="0" y="3064664"/>
                </a:cubicBezTo>
              </a:path>
            </a:pathLst>
          </a:custGeom>
          <a:noFill/>
          <a:ln w="31750" cap="flat" cmpd="sng"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25794"/>
                      <a:gd name="connsiteY0" fmla="*/ 0 h 2744616"/>
                      <a:gd name="connsiteX1" fmla="*/ 112897 w 225794"/>
                      <a:gd name="connsiteY1" fmla="*/ 18815 h 2744616"/>
                      <a:gd name="connsiteX2" fmla="*/ 112897 w 225794"/>
                      <a:gd name="connsiteY2" fmla="*/ 1353493 h 2744616"/>
                      <a:gd name="connsiteX3" fmla="*/ 225794 w 225794"/>
                      <a:gd name="connsiteY3" fmla="*/ 1372308 h 2744616"/>
                      <a:gd name="connsiteX4" fmla="*/ 112897 w 225794"/>
                      <a:gd name="connsiteY4" fmla="*/ 1391123 h 2744616"/>
                      <a:gd name="connsiteX5" fmla="*/ 112897 w 225794"/>
                      <a:gd name="connsiteY5" fmla="*/ 2725801 h 2744616"/>
                      <a:gd name="connsiteX6" fmla="*/ 0 w 225794"/>
                      <a:gd name="connsiteY6" fmla="*/ 2744616 h 2744616"/>
                      <a:gd name="connsiteX7" fmla="*/ 0 w 225794"/>
                      <a:gd name="connsiteY7" fmla="*/ 0 h 2744616"/>
                      <a:gd name="connsiteX0" fmla="*/ 0 w 225794"/>
                      <a:gd name="connsiteY0" fmla="*/ 0 h 2744616"/>
                      <a:gd name="connsiteX1" fmla="*/ 112897 w 225794"/>
                      <a:gd name="connsiteY1" fmla="*/ 18815 h 2744616"/>
                      <a:gd name="connsiteX2" fmla="*/ 112897 w 225794"/>
                      <a:gd name="connsiteY2" fmla="*/ 1353493 h 2744616"/>
                      <a:gd name="connsiteX3" fmla="*/ 225794 w 225794"/>
                      <a:gd name="connsiteY3" fmla="*/ 1372308 h 2744616"/>
                      <a:gd name="connsiteX4" fmla="*/ 112897 w 225794"/>
                      <a:gd name="connsiteY4" fmla="*/ 1391123 h 2744616"/>
                      <a:gd name="connsiteX5" fmla="*/ 112897 w 225794"/>
                      <a:gd name="connsiteY5" fmla="*/ 2725801 h 2744616"/>
                      <a:gd name="connsiteX6" fmla="*/ 0 w 225794"/>
                      <a:gd name="connsiteY6" fmla="*/ 2744616 h 2744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25794" h="2744616" stroke="0" extrusionOk="0">
                        <a:moveTo>
                          <a:pt x="0" y="0"/>
                        </a:moveTo>
                        <a:cubicBezTo>
                          <a:pt x="60612" y="-1073"/>
                          <a:pt x="111912" y="8794"/>
                          <a:pt x="112897" y="18815"/>
                        </a:cubicBezTo>
                        <a:cubicBezTo>
                          <a:pt x="91582" y="334151"/>
                          <a:pt x="135685" y="985858"/>
                          <a:pt x="112897" y="1353493"/>
                        </a:cubicBezTo>
                        <a:cubicBezTo>
                          <a:pt x="108844" y="1367842"/>
                          <a:pt x="162139" y="1379516"/>
                          <a:pt x="225794" y="1372308"/>
                        </a:cubicBezTo>
                        <a:cubicBezTo>
                          <a:pt x="163136" y="1372140"/>
                          <a:pt x="114470" y="1381484"/>
                          <a:pt x="112897" y="1391123"/>
                        </a:cubicBezTo>
                        <a:cubicBezTo>
                          <a:pt x="77222" y="1599983"/>
                          <a:pt x="27084" y="2357038"/>
                          <a:pt x="112897" y="2725801"/>
                        </a:cubicBezTo>
                        <a:cubicBezTo>
                          <a:pt x="104774" y="2734948"/>
                          <a:pt x="55304" y="2751251"/>
                          <a:pt x="0" y="2744616"/>
                        </a:cubicBezTo>
                        <a:cubicBezTo>
                          <a:pt x="48231" y="1638725"/>
                          <a:pt x="-84455" y="1058268"/>
                          <a:pt x="0" y="0"/>
                        </a:cubicBezTo>
                        <a:close/>
                      </a:path>
                      <a:path w="225794" h="2744616" fill="none" extrusionOk="0">
                        <a:moveTo>
                          <a:pt x="0" y="0"/>
                        </a:moveTo>
                        <a:cubicBezTo>
                          <a:pt x="63446" y="613"/>
                          <a:pt x="113786" y="8638"/>
                          <a:pt x="112897" y="18815"/>
                        </a:cubicBezTo>
                        <a:cubicBezTo>
                          <a:pt x="52623" y="660886"/>
                          <a:pt x="176387" y="1008151"/>
                          <a:pt x="112897" y="1353493"/>
                        </a:cubicBezTo>
                        <a:cubicBezTo>
                          <a:pt x="118313" y="1371946"/>
                          <a:pt x="163970" y="1377764"/>
                          <a:pt x="225794" y="1372308"/>
                        </a:cubicBezTo>
                        <a:cubicBezTo>
                          <a:pt x="163690" y="1372689"/>
                          <a:pt x="113208" y="1381112"/>
                          <a:pt x="112897" y="1391123"/>
                        </a:cubicBezTo>
                        <a:cubicBezTo>
                          <a:pt x="-6422" y="1675994"/>
                          <a:pt x="152940" y="2168258"/>
                          <a:pt x="112897" y="2725801"/>
                        </a:cubicBezTo>
                        <a:cubicBezTo>
                          <a:pt x="111923" y="2736352"/>
                          <a:pt x="58008" y="2741619"/>
                          <a:pt x="0" y="2744616"/>
                        </a:cubicBezTo>
                      </a:path>
                    </a:pathLst>
                  </a:cu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eckige Legende 86">
            <a:extLst>
              <a:ext uri="{FF2B5EF4-FFF2-40B4-BE49-F238E27FC236}">
                <a16:creationId xmlns:a16="http://schemas.microsoft.com/office/drawing/2014/main" id="{0C996A1F-07E3-1BA9-CC5A-7F65620AA781}"/>
              </a:ext>
            </a:extLst>
          </p:cNvPr>
          <p:cNvSpPr/>
          <p:nvPr/>
        </p:nvSpPr>
        <p:spPr>
          <a:xfrm>
            <a:off x="7122895" y="4044716"/>
            <a:ext cx="1023635" cy="263342"/>
          </a:xfrm>
          <a:prstGeom prst="wedgeRectCallout">
            <a:avLst>
              <a:gd name="adj1" fmla="val -60661"/>
              <a:gd name="adj2" fmla="val -121389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150">
                <a:cs typeface="Arial"/>
              </a:rPr>
              <a:t>Training</a:t>
            </a:r>
          </a:p>
        </p:txBody>
      </p:sp>
      <p:sp>
        <p:nvSpPr>
          <p:cNvPr id="44" name="Fußzeilenplatzhalter 4">
            <a:extLst>
              <a:ext uri="{FF2B5EF4-FFF2-40B4-BE49-F238E27FC236}">
                <a16:creationId xmlns:a16="http://schemas.microsoft.com/office/drawing/2014/main" id="{12D4C6CB-CE93-B0BD-F938-A5D871AF619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 dirty="0">
                <a:latin typeface="Arial"/>
                <a:cs typeface="Arial"/>
              </a:rPr>
              <a:t>◻︎ Web Application</a:t>
            </a:r>
            <a:r>
              <a:rPr lang="de-DE" dirty="0">
                <a:latin typeface="Arial"/>
                <a:cs typeface="Arial"/>
              </a:rPr>
              <a:t> |</a:t>
            </a:r>
            <a:r>
              <a:rPr lang="pl-PL" dirty="0">
                <a:latin typeface="Arial"/>
                <a:cs typeface="Arial"/>
              </a:rPr>
              <a:t> ◻︎ Pre</a:t>
            </a:r>
            <a:r>
              <a:rPr lang="de-DE" dirty="0">
                <a:latin typeface="Arial"/>
                <a:cs typeface="Arial"/>
              </a:rPr>
              <a:t>-</a:t>
            </a:r>
            <a:r>
              <a:rPr lang="pl-PL" dirty="0">
                <a:latin typeface="Arial"/>
                <a:cs typeface="Arial"/>
              </a:rPr>
              <a:t>processing </a:t>
            </a:r>
            <a:r>
              <a:rPr lang="pl-PL" b="1" dirty="0">
                <a:latin typeface="Arial"/>
                <a:cs typeface="Arial"/>
              </a:rPr>
              <a:t>|</a:t>
            </a:r>
            <a:r>
              <a:rPr lang="pl-PL" dirty="0">
                <a:latin typeface="Arial"/>
                <a:cs typeface="Arial"/>
              </a:rPr>
              <a:t> ◼︎ </a:t>
            </a:r>
            <a:r>
              <a:rPr lang="de-DE" b="1" dirty="0">
                <a:latin typeface="Arial"/>
                <a:cs typeface="Arial"/>
              </a:rPr>
              <a:t>Modeling</a:t>
            </a:r>
            <a:r>
              <a:rPr lang="pl-PL" dirty="0">
                <a:latin typeface="Arial"/>
                <a:cs typeface="Arial"/>
              </a:rPr>
              <a:t> </a:t>
            </a:r>
            <a:r>
              <a:rPr lang="pl-PL" b="1" dirty="0">
                <a:latin typeface="Arial"/>
                <a:cs typeface="Arial"/>
              </a:rPr>
              <a:t>| </a:t>
            </a:r>
            <a:r>
              <a:rPr lang="pl-PL" dirty="0">
                <a:latin typeface="Arial"/>
                <a:cs typeface="Arial"/>
              </a:rPr>
              <a:t>◻︎ </a:t>
            </a:r>
            <a:r>
              <a:rPr lang="de-DE" dirty="0">
                <a:latin typeface="Arial"/>
                <a:cs typeface="Arial"/>
              </a:rPr>
              <a:t>Challenges </a:t>
            </a:r>
            <a:r>
              <a:rPr lang="pl-PL" b="1" dirty="0">
                <a:latin typeface="Arial"/>
                <a:cs typeface="Arial"/>
              </a:rPr>
              <a:t>| </a:t>
            </a:r>
            <a:r>
              <a:rPr lang="pl-PL" dirty="0">
                <a:latin typeface="Arial"/>
                <a:cs typeface="Arial"/>
              </a:rPr>
              <a:t>◻︎ </a:t>
            </a:r>
            <a:r>
              <a:rPr lang="en-GB" dirty="0">
                <a:latin typeface="Arial"/>
                <a:cs typeface="Arial"/>
              </a:rPr>
              <a:t>Next step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7131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6"/>
            <a:ext cx="7891317" cy="377796"/>
          </a:xfrm>
        </p:spPr>
        <p:txBody>
          <a:bodyPr vert="horz"/>
          <a:lstStyle/>
          <a:p>
            <a:r>
              <a:rPr lang="en-US"/>
              <a:t>Active Learning for labeling the data</a:t>
            </a:r>
            <a:endParaRPr lang="en-US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4" y="45684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DE74DD00-404A-38D7-A7DD-E31DBE53B18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</a:t>
            </a:r>
            <a:r>
              <a:rPr lang="pl-PL" err="1">
                <a:latin typeface="Arial"/>
                <a:cs typeface="Arial"/>
              </a:rPr>
              <a:t>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 err="1">
                <a:latin typeface="Arial"/>
                <a:cs typeface="Arial"/>
              </a:rPr>
              <a:t>process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de-DE" b="1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305646C3-66D7-45DC-943A-A0C2DDB57636}"/>
              </a:ext>
            </a:extLst>
          </p:cNvPr>
          <p:cNvSpPr/>
          <p:nvPr/>
        </p:nvSpPr>
        <p:spPr>
          <a:xfrm>
            <a:off x="3940466" y="2232349"/>
            <a:ext cx="952928" cy="567648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GB" sz="800" b="1">
                <a:cs typeface="Arial"/>
              </a:rPr>
              <a:t>Active Learner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2EFB8CD4-921E-5920-D06B-1B75AD0A5BDB}"/>
              </a:ext>
            </a:extLst>
          </p:cNvPr>
          <p:cNvCxnSpPr/>
          <p:nvPr/>
        </p:nvCxnSpPr>
        <p:spPr>
          <a:xfrm>
            <a:off x="3148809" y="2529114"/>
            <a:ext cx="705932" cy="30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F29A20BB-8D93-3817-2E99-CFE80FE4DD25}"/>
              </a:ext>
            </a:extLst>
          </p:cNvPr>
          <p:cNvSpPr txBox="1"/>
          <p:nvPr/>
        </p:nvSpPr>
        <p:spPr>
          <a:xfrm>
            <a:off x="1377065" y="1651840"/>
            <a:ext cx="725248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GB" sz="1400" b="1">
                <a:latin typeface="Arial"/>
                <a:cs typeface="Arial"/>
              </a:rPr>
              <a:t>Pool set</a:t>
            </a:r>
            <a:endParaRPr lang="en-GB" sz="1400">
              <a:latin typeface="Arial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E17B78B-DC74-CC55-1002-B5C1B3E56ADA}"/>
              </a:ext>
            </a:extLst>
          </p:cNvPr>
          <p:cNvSpPr txBox="1"/>
          <p:nvPr/>
        </p:nvSpPr>
        <p:spPr>
          <a:xfrm>
            <a:off x="1508474" y="2553772"/>
            <a:ext cx="649842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b="1">
                <a:latin typeface="Arial"/>
                <a:cs typeface="Arial"/>
              </a:rPr>
              <a:t>Seed</a:t>
            </a:r>
          </a:p>
        </p:txBody>
      </p:sp>
      <p:pic>
        <p:nvPicPr>
          <p:cNvPr id="15" name="Grafik 12" descr="Männliches Profil mit einfarbiger Füllung">
            <a:extLst>
              <a:ext uri="{FF2B5EF4-FFF2-40B4-BE49-F238E27FC236}">
                <a16:creationId xmlns:a16="http://schemas.microsoft.com/office/drawing/2014/main" id="{3E2CC794-BD0C-A2BB-4B98-4D62851AB89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70714" y="3004868"/>
            <a:ext cx="914400" cy="914400"/>
          </a:xfrm>
          <a:prstGeom prst="rect">
            <a:avLst/>
          </a:prstGeom>
        </p:spPr>
      </p:pic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8E36DD6F-E860-624C-8E8C-74675689BCDD}"/>
              </a:ext>
            </a:extLst>
          </p:cNvPr>
          <p:cNvCxnSpPr>
            <a:cxnSpLocks/>
          </p:cNvCxnSpPr>
          <p:nvPr/>
        </p:nvCxnSpPr>
        <p:spPr>
          <a:xfrm>
            <a:off x="5128749" y="1545184"/>
            <a:ext cx="702495" cy="54838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" name="Flussdiagramm: Mehrere Dokumente 19">
            <a:extLst>
              <a:ext uri="{FF2B5EF4-FFF2-40B4-BE49-F238E27FC236}">
                <a16:creationId xmlns:a16="http://schemas.microsoft.com/office/drawing/2014/main" id="{FC7400B8-0479-3C7B-97E0-DC56C772C271}"/>
              </a:ext>
            </a:extLst>
          </p:cNvPr>
          <p:cNvSpPr/>
          <p:nvPr/>
        </p:nvSpPr>
        <p:spPr>
          <a:xfrm>
            <a:off x="5960671" y="2021114"/>
            <a:ext cx="1060704" cy="758951"/>
          </a:xfrm>
          <a:prstGeom prst="flowChartMultidocument">
            <a:avLst/>
          </a:prstGeom>
          <a:solidFill>
            <a:schemeClr val="accent5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999"/>
              </a:lnSpc>
            </a:pPr>
            <a:r>
              <a:rPr lang="de-DE" sz="1000">
                <a:cs typeface="Arial"/>
              </a:rPr>
              <a:t>Selected Samples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EEDE50C-3AEB-C816-F4B8-1F9CAC5CF27A}"/>
              </a:ext>
            </a:extLst>
          </p:cNvPr>
          <p:cNvCxnSpPr>
            <a:cxnSpLocks/>
          </p:cNvCxnSpPr>
          <p:nvPr/>
        </p:nvCxnSpPr>
        <p:spPr>
          <a:xfrm>
            <a:off x="5085068" y="2477966"/>
            <a:ext cx="689654" cy="899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4" name="Pfeil: nach links gekrümmt 23">
            <a:extLst>
              <a:ext uri="{FF2B5EF4-FFF2-40B4-BE49-F238E27FC236}">
                <a16:creationId xmlns:a16="http://schemas.microsoft.com/office/drawing/2014/main" id="{6AEB0E70-3FAB-84EE-D3DC-BC04E343BEC6}"/>
              </a:ext>
            </a:extLst>
          </p:cNvPr>
          <p:cNvSpPr/>
          <p:nvPr/>
        </p:nvSpPr>
        <p:spPr>
          <a:xfrm rot="5400000">
            <a:off x="3887466" y="1505498"/>
            <a:ext cx="712257" cy="3701214"/>
          </a:xfrm>
          <a:prstGeom prst="curvedLef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sz="1050">
              <a:solidFill>
                <a:schemeClr val="tx1"/>
              </a:solidFill>
            </a:endParaRP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C6A21C5-E89D-5CF3-A09E-F7F7B832782B}"/>
              </a:ext>
            </a:extLst>
          </p:cNvPr>
          <p:cNvGrpSpPr/>
          <p:nvPr/>
        </p:nvGrpSpPr>
        <p:grpSpPr>
          <a:xfrm>
            <a:off x="2190651" y="1126166"/>
            <a:ext cx="818080" cy="834371"/>
            <a:chOff x="785973" y="2410419"/>
            <a:chExt cx="1090773" cy="1112489"/>
          </a:xfrm>
        </p:grpSpPr>
        <p:pic>
          <p:nvPicPr>
            <p:cNvPr id="26" name="Grafik 20" descr="Ein Bild, das Transport, silbern, Rad enthält.&#10;&#10;Beschreibung automatisch generiert.">
              <a:extLst>
                <a:ext uri="{FF2B5EF4-FFF2-40B4-BE49-F238E27FC236}">
                  <a16:creationId xmlns:a16="http://schemas.microsoft.com/office/drawing/2014/main" id="{8E0FF591-91DE-20DA-E91B-F55C87839EE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54130" y="2410419"/>
              <a:ext cx="722616" cy="718646"/>
            </a:xfrm>
            <a:prstGeom prst="rect">
              <a:avLst/>
            </a:prstGeom>
          </p:spPr>
        </p:pic>
        <p:pic>
          <p:nvPicPr>
            <p:cNvPr id="27" name="Grafik 21" descr="Ein Bild, das drinnen enthält.&#10;&#10;Beschreibung automatisch generiert.">
              <a:extLst>
                <a:ext uri="{FF2B5EF4-FFF2-40B4-BE49-F238E27FC236}">
                  <a16:creationId xmlns:a16="http://schemas.microsoft.com/office/drawing/2014/main" id="{D4D42A5A-300A-2BC5-57B8-D69C6EFCB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94197" y="2494811"/>
              <a:ext cx="722618" cy="703975"/>
            </a:xfrm>
            <a:prstGeom prst="rect">
              <a:avLst/>
            </a:prstGeom>
          </p:spPr>
        </p:pic>
        <p:pic>
          <p:nvPicPr>
            <p:cNvPr id="28" name="Grafik 22" descr="Ein Bild, das Text enthält.&#10;&#10;Beschreibung automatisch generiert.">
              <a:extLst>
                <a:ext uri="{FF2B5EF4-FFF2-40B4-BE49-F238E27FC236}">
                  <a16:creationId xmlns:a16="http://schemas.microsoft.com/office/drawing/2014/main" id="{AF767E20-4D28-8128-44FB-A3CFD10B53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19068" y="2578759"/>
              <a:ext cx="718764" cy="707312"/>
            </a:xfrm>
            <a:prstGeom prst="rect">
              <a:avLst/>
            </a:prstGeom>
          </p:spPr>
        </p:pic>
        <p:pic>
          <p:nvPicPr>
            <p:cNvPr id="29" name="Grafik 23" descr="Ein Bild, das Transport, Rad, schließen, Zahnrad enthält.&#10;&#10;Beschreibung automatisch generiert.">
              <a:extLst>
                <a:ext uri="{FF2B5EF4-FFF2-40B4-BE49-F238E27FC236}">
                  <a16:creationId xmlns:a16="http://schemas.microsoft.com/office/drawing/2014/main" id="{A06741ED-F22D-2716-A654-6965C4DA2B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48648" y="2645979"/>
              <a:ext cx="722617" cy="718422"/>
            </a:xfrm>
            <a:prstGeom prst="rect">
              <a:avLst/>
            </a:prstGeom>
          </p:spPr>
        </p:pic>
        <p:pic>
          <p:nvPicPr>
            <p:cNvPr id="31" name="Grafik 24" descr="Ein Bild, das Text enthält.&#10;&#10;Beschreibung automatisch generiert.">
              <a:extLst>
                <a:ext uri="{FF2B5EF4-FFF2-40B4-BE49-F238E27FC236}">
                  <a16:creationId xmlns:a16="http://schemas.microsoft.com/office/drawing/2014/main" id="{01D45095-3355-4294-0401-CCC101DEB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61584" y="2731267"/>
              <a:ext cx="725505" cy="719083"/>
            </a:xfrm>
            <a:prstGeom prst="rect">
              <a:avLst/>
            </a:prstGeom>
          </p:spPr>
        </p:pic>
        <p:pic>
          <p:nvPicPr>
            <p:cNvPr id="33" name="Grafik 29" descr="Ein Bild, das Transport, silbern, Rad enthält.&#10;&#10;Beschreibung automatisch generiert.">
              <a:extLst>
                <a:ext uri="{FF2B5EF4-FFF2-40B4-BE49-F238E27FC236}">
                  <a16:creationId xmlns:a16="http://schemas.microsoft.com/office/drawing/2014/main" id="{618A7F92-C825-D77D-0AD3-DE76C1775DC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85973" y="2795699"/>
              <a:ext cx="722617" cy="727209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416AD14-2558-DD97-D98C-008DC0316459}"/>
              </a:ext>
            </a:extLst>
          </p:cNvPr>
          <p:cNvGrpSpPr/>
          <p:nvPr/>
        </p:nvGrpSpPr>
        <p:grpSpPr>
          <a:xfrm>
            <a:off x="2132469" y="2247203"/>
            <a:ext cx="662924" cy="667421"/>
            <a:chOff x="730802" y="3836648"/>
            <a:chExt cx="883898" cy="889894"/>
          </a:xfrm>
        </p:grpSpPr>
        <p:pic>
          <p:nvPicPr>
            <p:cNvPr id="37" name="Grafik 33">
              <a:extLst>
                <a:ext uri="{FF2B5EF4-FFF2-40B4-BE49-F238E27FC236}">
                  <a16:creationId xmlns:a16="http://schemas.microsoft.com/office/drawing/2014/main" id="{AAFFD0B9-9FE7-3C4F-D9B4-3CB6D22626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02466" y="3836648"/>
              <a:ext cx="712234" cy="700142"/>
            </a:xfrm>
            <a:prstGeom prst="rect">
              <a:avLst/>
            </a:prstGeom>
          </p:spPr>
        </p:pic>
        <p:pic>
          <p:nvPicPr>
            <p:cNvPr id="40" name="Grafik 34" descr="Ein Bild, das Suppe enthält.&#10;&#10;Beschreibung automatisch generiert.">
              <a:extLst>
                <a:ext uri="{FF2B5EF4-FFF2-40B4-BE49-F238E27FC236}">
                  <a16:creationId xmlns:a16="http://schemas.microsoft.com/office/drawing/2014/main" id="{B8DFC010-39FD-8FB0-0606-343A62DD05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22414" y="3921196"/>
              <a:ext cx="718228" cy="702282"/>
            </a:xfrm>
            <a:prstGeom prst="rect">
              <a:avLst/>
            </a:prstGeom>
          </p:spPr>
        </p:pic>
        <p:pic>
          <p:nvPicPr>
            <p:cNvPr id="41" name="Grafik 36" descr="Ein Bild, das Text, rot enthält.&#10;&#10;Beschreibung automatisch generiert.">
              <a:extLst>
                <a:ext uri="{FF2B5EF4-FFF2-40B4-BE49-F238E27FC236}">
                  <a16:creationId xmlns:a16="http://schemas.microsoft.com/office/drawing/2014/main" id="{DE949B46-1E59-C262-BBC8-8BD63B8B4E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30802" y="4023618"/>
              <a:ext cx="713091" cy="702924"/>
            </a:xfrm>
            <a:prstGeom prst="rect">
              <a:avLst/>
            </a:prstGeom>
          </p:spPr>
        </p:pic>
      </p:grp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34DFB34E-7C7B-9897-952C-5A3AC2286FEA}"/>
              </a:ext>
            </a:extLst>
          </p:cNvPr>
          <p:cNvCxnSpPr/>
          <p:nvPr/>
        </p:nvCxnSpPr>
        <p:spPr>
          <a:xfrm flipV="1">
            <a:off x="3150559" y="1545184"/>
            <a:ext cx="1997039" cy="1"/>
          </a:xfrm>
          <a:prstGeom prst="straightConnector1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9" name="Grafik 47">
            <a:extLst>
              <a:ext uri="{FF2B5EF4-FFF2-40B4-BE49-F238E27FC236}">
                <a16:creationId xmlns:a16="http://schemas.microsoft.com/office/drawing/2014/main" id="{C4019146-8151-F753-B92B-09BBE5E67B7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810886" y="2780592"/>
            <a:ext cx="370778" cy="384718"/>
          </a:xfrm>
          <a:prstGeom prst="rect">
            <a:avLst/>
          </a:prstGeom>
        </p:spPr>
      </p:pic>
      <p:pic>
        <p:nvPicPr>
          <p:cNvPr id="75" name="Grafik 48" descr="Ein Bild, das Text, ClipArt enthält.&#10;&#10;Beschreibung automatisch generiert.">
            <a:extLst>
              <a:ext uri="{FF2B5EF4-FFF2-40B4-BE49-F238E27FC236}">
                <a16:creationId xmlns:a16="http://schemas.microsoft.com/office/drawing/2014/main" id="{C2620EAE-9E42-893D-8A1B-F50BBDFA62A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140456" y="2747748"/>
            <a:ext cx="324954" cy="338893"/>
          </a:xfrm>
          <a:prstGeom prst="rect">
            <a:avLst/>
          </a:prstGeom>
        </p:spPr>
      </p:pic>
      <p:sp>
        <p:nvSpPr>
          <p:cNvPr id="78" name="Textfeld 77">
            <a:extLst>
              <a:ext uri="{FF2B5EF4-FFF2-40B4-BE49-F238E27FC236}">
                <a16:creationId xmlns:a16="http://schemas.microsoft.com/office/drawing/2014/main" id="{D19A412B-4EEA-BCD9-5410-D0BB05EBF337}"/>
              </a:ext>
            </a:extLst>
          </p:cNvPr>
          <p:cNvSpPr txBox="1"/>
          <p:nvPr/>
        </p:nvSpPr>
        <p:spPr>
          <a:xfrm>
            <a:off x="3255049" y="3887562"/>
            <a:ext cx="2321217" cy="1930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4000"/>
              </a:lnSpc>
            </a:pPr>
            <a:r>
              <a:rPr lang="en-GB" sz="1200" b="1">
                <a:latin typeface="Arial"/>
                <a:cs typeface="Arial"/>
              </a:rPr>
              <a:t>Feed new samples to train set</a:t>
            </a:r>
          </a:p>
        </p:txBody>
      </p:sp>
      <p:sp>
        <p:nvSpPr>
          <p:cNvPr id="80" name="Rechteckige Legende 42">
            <a:extLst>
              <a:ext uri="{FF2B5EF4-FFF2-40B4-BE49-F238E27FC236}">
                <a16:creationId xmlns:a16="http://schemas.microsoft.com/office/drawing/2014/main" id="{07CF5F5F-99AD-2940-AA54-C4CA6BD9345A}"/>
              </a:ext>
            </a:extLst>
          </p:cNvPr>
          <p:cNvSpPr/>
          <p:nvPr/>
        </p:nvSpPr>
        <p:spPr>
          <a:xfrm>
            <a:off x="5817248" y="4134776"/>
            <a:ext cx="1836277" cy="239233"/>
          </a:xfrm>
          <a:prstGeom prst="wedgeRectCallout">
            <a:avLst>
              <a:gd name="adj1" fmla="val 31140"/>
              <a:gd name="adj2" fmla="val -159945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000"/>
              <a:t>no oracle, true labels known</a:t>
            </a:r>
          </a:p>
        </p:txBody>
      </p:sp>
      <p:sp>
        <p:nvSpPr>
          <p:cNvPr id="82" name="Rechteckige Legende 42">
            <a:extLst>
              <a:ext uri="{FF2B5EF4-FFF2-40B4-BE49-F238E27FC236}">
                <a16:creationId xmlns:a16="http://schemas.microsoft.com/office/drawing/2014/main" id="{23991775-E15B-4FE5-6560-B66D093342E0}"/>
              </a:ext>
            </a:extLst>
          </p:cNvPr>
          <p:cNvSpPr/>
          <p:nvPr/>
        </p:nvSpPr>
        <p:spPr>
          <a:xfrm>
            <a:off x="1739689" y="3716360"/>
            <a:ext cx="1052874" cy="414665"/>
          </a:xfrm>
          <a:prstGeom prst="wedgeRectCallout">
            <a:avLst>
              <a:gd name="adj1" fmla="val 31140"/>
              <a:gd name="adj2" fmla="val -159945"/>
            </a:avLst>
          </a:prstGeom>
          <a:ln w="2159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7724" tIns="38862" rIns="77724" bIns="38862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3999"/>
              </a:lnSpc>
            </a:pPr>
            <a:r>
              <a:rPr lang="en-GB" sz="1000">
                <a:cs typeface="Arial"/>
              </a:rPr>
              <a:t>Seed: ~90</a:t>
            </a:r>
          </a:p>
          <a:p>
            <a:pPr algn="ctr">
              <a:lnSpc>
                <a:spcPct val="113999"/>
              </a:lnSpc>
            </a:pPr>
            <a:r>
              <a:rPr lang="en-GB" sz="1000">
                <a:cs typeface="Arial"/>
              </a:rPr>
              <a:t>Validation: ~ 45</a:t>
            </a:r>
            <a:endParaRPr lang="en-GB"/>
          </a:p>
        </p:txBody>
      </p:sp>
      <p:sp>
        <p:nvSpPr>
          <p:cNvPr id="84" name="Sprechblase: rechteckig 83">
            <a:extLst>
              <a:ext uri="{FF2B5EF4-FFF2-40B4-BE49-F238E27FC236}">
                <a16:creationId xmlns:a16="http://schemas.microsoft.com/office/drawing/2014/main" id="{535407A8-0505-652E-233B-E19CEB3A35FC}"/>
              </a:ext>
            </a:extLst>
          </p:cNvPr>
          <p:cNvSpPr/>
          <p:nvPr/>
        </p:nvSpPr>
        <p:spPr>
          <a:xfrm>
            <a:off x="6151349" y="1410323"/>
            <a:ext cx="1318945" cy="445693"/>
          </a:xfrm>
          <a:prstGeom prst="wedgeRectCallou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999"/>
              </a:lnSpc>
            </a:pPr>
            <a:r>
              <a:rPr lang="en-GB" sz="1000">
                <a:solidFill>
                  <a:schemeClr val="tx1"/>
                </a:solidFill>
                <a:cs typeface="Arial"/>
              </a:rPr>
              <a:t>2 selected samples per iteration</a:t>
            </a:r>
            <a:endParaRPr lang="de-DE" sz="1000">
              <a:solidFill>
                <a:schemeClr val="tx1"/>
              </a:solidFill>
              <a:cs typeface="Arial"/>
            </a:endParaRP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D57024DB-CF4C-312A-3828-A4A4550F7A60}"/>
              </a:ext>
            </a:extLst>
          </p:cNvPr>
          <p:cNvSpPr txBox="1"/>
          <p:nvPr/>
        </p:nvSpPr>
        <p:spPr>
          <a:xfrm>
            <a:off x="3320177" y="1195876"/>
            <a:ext cx="2190963" cy="5958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200000"/>
              </a:lnSpc>
            </a:pPr>
            <a:r>
              <a:rPr lang="en-GB" sz="1100">
                <a:latin typeface="+mn-lt"/>
                <a:cs typeface="Arial"/>
              </a:rPr>
              <a:t>Scenario: </a:t>
            </a:r>
            <a:r>
              <a:rPr lang="en-GB" sz="1100" b="1">
                <a:latin typeface="+mn-lt"/>
                <a:cs typeface="Arial"/>
              </a:rPr>
              <a:t>Pool-based</a:t>
            </a:r>
            <a:r>
              <a:rPr lang="en-GB" sz="1100">
                <a:latin typeface="+mn-lt"/>
                <a:cs typeface="Arial"/>
              </a:rPr>
              <a:t> sampling</a:t>
            </a:r>
            <a:endParaRPr lang="de-DE" sz="1100">
              <a:cs typeface="Arial"/>
            </a:endParaRPr>
          </a:p>
          <a:p>
            <a:pPr algn="l">
              <a:lnSpc>
                <a:spcPct val="113999"/>
              </a:lnSpc>
            </a:pPr>
            <a:endParaRPr lang="de-DE" sz="1600">
              <a:latin typeface="+mn-lt"/>
            </a:endParaRP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D3BE9AD6-F52C-ACA0-D6FF-41AB8FEDAE9E}"/>
              </a:ext>
            </a:extLst>
          </p:cNvPr>
          <p:cNvSpPr txBox="1"/>
          <p:nvPr/>
        </p:nvSpPr>
        <p:spPr>
          <a:xfrm>
            <a:off x="3456630" y="1634132"/>
            <a:ext cx="1788971" cy="4035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GB" sz="1200">
                <a:latin typeface="+mn-lt"/>
                <a:cs typeface="Arial"/>
              </a:rPr>
              <a:t>Selection: </a:t>
            </a:r>
          </a:p>
          <a:p>
            <a:pPr>
              <a:lnSpc>
                <a:spcPct val="113999"/>
              </a:lnSpc>
            </a:pPr>
            <a:r>
              <a:rPr lang="en-GB" sz="1200" b="1">
                <a:latin typeface="+mn-lt"/>
                <a:cs typeface="Arial"/>
              </a:rPr>
              <a:t>Least confidence</a:t>
            </a:r>
            <a:endParaRPr lang="en-GB" sz="1200" b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5260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6"/>
            <a:ext cx="7891317" cy="377796"/>
          </a:xfrm>
        </p:spPr>
        <p:txBody>
          <a:bodyPr vert="horz"/>
          <a:lstStyle/>
          <a:p>
            <a:r>
              <a:rPr lang="en-US"/>
              <a:t>Active Learning for labeling the data</a:t>
            </a:r>
            <a:endParaRPr lang="en-US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4" y="45684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Pfeil: gebogen 29">
            <a:extLst>
              <a:ext uri="{FF2B5EF4-FFF2-40B4-BE49-F238E27FC236}">
                <a16:creationId xmlns:a16="http://schemas.microsoft.com/office/drawing/2014/main" id="{08150447-4DE3-A5CA-7DAF-1BDF22F529D0}"/>
              </a:ext>
            </a:extLst>
          </p:cNvPr>
          <p:cNvSpPr/>
          <p:nvPr/>
        </p:nvSpPr>
        <p:spPr>
          <a:xfrm>
            <a:off x="1821709" y="1475725"/>
            <a:ext cx="1259080" cy="651510"/>
          </a:xfrm>
          <a:prstGeom prst="bentArrow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sz="1050">
              <a:solidFill>
                <a:schemeClr val="tx1"/>
              </a:solidFill>
            </a:endParaRPr>
          </a:p>
        </p:txBody>
      </p:sp>
      <p:sp>
        <p:nvSpPr>
          <p:cNvPr id="39" name="Pfeil: gebogen 38">
            <a:extLst>
              <a:ext uri="{FF2B5EF4-FFF2-40B4-BE49-F238E27FC236}">
                <a16:creationId xmlns:a16="http://schemas.microsoft.com/office/drawing/2014/main" id="{AAB38F02-3EF0-BFDA-3493-BD602E2D60CA}"/>
              </a:ext>
            </a:extLst>
          </p:cNvPr>
          <p:cNvSpPr/>
          <p:nvPr/>
        </p:nvSpPr>
        <p:spPr>
          <a:xfrm rot="5400000">
            <a:off x="5997020" y="1239794"/>
            <a:ext cx="610362" cy="1259080"/>
          </a:xfrm>
          <a:prstGeom prst="bentArrow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sz="1050">
              <a:solidFill>
                <a:schemeClr val="tx1"/>
              </a:solidFill>
            </a:endParaRPr>
          </a:p>
        </p:txBody>
      </p:sp>
      <p:sp>
        <p:nvSpPr>
          <p:cNvPr id="42" name="Pfeil: gebogen 41">
            <a:extLst>
              <a:ext uri="{FF2B5EF4-FFF2-40B4-BE49-F238E27FC236}">
                <a16:creationId xmlns:a16="http://schemas.microsoft.com/office/drawing/2014/main" id="{795E9661-0E77-8852-B85A-E37FC7E80159}"/>
              </a:ext>
            </a:extLst>
          </p:cNvPr>
          <p:cNvSpPr/>
          <p:nvPr/>
        </p:nvSpPr>
        <p:spPr>
          <a:xfrm rot="16200000">
            <a:off x="2179229" y="2681421"/>
            <a:ext cx="651509" cy="1544352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39867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sz="1050">
              <a:solidFill>
                <a:schemeClr val="accent1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A7237B0B-8A65-AF4D-E61F-56040A3A80CF}"/>
              </a:ext>
            </a:extLst>
          </p:cNvPr>
          <p:cNvSpPr txBox="1"/>
          <p:nvPr/>
        </p:nvSpPr>
        <p:spPr>
          <a:xfrm>
            <a:off x="3717291" y="2442933"/>
            <a:ext cx="1234998" cy="4035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GB" sz="1200" b="1">
                <a:solidFill>
                  <a:srgbClr val="00B050"/>
                </a:solidFill>
                <a:cs typeface="Arial"/>
              </a:rPr>
              <a:t>1 Round of Active Learning </a:t>
            </a:r>
            <a:endParaRPr lang="en-GB" sz="1050" b="1">
              <a:solidFill>
                <a:srgbClr val="00B050"/>
              </a:solidFill>
            </a:endParaRPr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DE74DD00-404A-38D7-A7DD-E31DBE53B18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>
                <a:latin typeface="Arial"/>
                <a:cs typeface="Arial"/>
              </a:rPr>
              <a:t>◻︎ Web Application</a:t>
            </a:r>
            <a:r>
              <a:rPr lang="de-DE">
                <a:latin typeface="Arial"/>
                <a:cs typeface="Arial"/>
              </a:rPr>
              <a:t> |</a:t>
            </a:r>
            <a:r>
              <a:rPr lang="pl-PL">
                <a:latin typeface="Arial"/>
                <a:cs typeface="Arial"/>
              </a:rPr>
              <a:t> ◻︎ </a:t>
            </a:r>
            <a:r>
              <a:rPr lang="pl-PL" err="1">
                <a:latin typeface="Arial"/>
                <a:cs typeface="Arial"/>
              </a:rPr>
              <a:t>Pre</a:t>
            </a:r>
            <a:r>
              <a:rPr lang="de-DE">
                <a:latin typeface="Arial"/>
                <a:cs typeface="Arial"/>
              </a:rPr>
              <a:t>-</a:t>
            </a:r>
            <a:r>
              <a:rPr lang="pl-PL" err="1">
                <a:latin typeface="Arial"/>
                <a:cs typeface="Arial"/>
              </a:rPr>
              <a:t>process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</a:t>
            </a:r>
            <a:r>
              <a:rPr lang="pl-PL">
                <a:latin typeface="Arial"/>
                <a:cs typeface="Arial"/>
              </a:rPr>
              <a:t> ◼︎ </a:t>
            </a:r>
            <a:r>
              <a:rPr lang="de-DE" b="1">
                <a:latin typeface="Arial"/>
                <a:cs typeface="Arial"/>
              </a:rPr>
              <a:t>Modeling</a:t>
            </a:r>
            <a:r>
              <a:rPr lang="pl-PL">
                <a:latin typeface="Arial"/>
                <a:cs typeface="Arial"/>
              </a:rPr>
              <a:t> </a:t>
            </a:r>
            <a:r>
              <a:rPr lang="pl-PL" b="1">
                <a:latin typeface="Arial"/>
                <a:cs typeface="Arial"/>
              </a:rPr>
              <a:t>| 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de-DE">
                <a:latin typeface="Arial"/>
                <a:cs typeface="Arial"/>
              </a:rPr>
              <a:t>Challenges </a:t>
            </a:r>
            <a:r>
              <a:rPr lang="pl-PL" b="1">
                <a:latin typeface="Arial"/>
                <a:cs typeface="Arial"/>
              </a:rPr>
              <a:t>| </a:t>
            </a:r>
            <a:r>
              <a:rPr lang="pl-PL">
                <a:latin typeface="Arial"/>
                <a:cs typeface="Arial"/>
              </a:rPr>
              <a:t>◻︎ </a:t>
            </a:r>
            <a:r>
              <a:rPr lang="en-GB">
                <a:latin typeface="Arial"/>
                <a:cs typeface="Arial"/>
              </a:rPr>
              <a:t>Next steps</a:t>
            </a:r>
            <a:endParaRPr lang="en-GB"/>
          </a:p>
        </p:txBody>
      </p:sp>
      <p:sp>
        <p:nvSpPr>
          <p:cNvPr id="50" name="Pfeil: gebogen 49">
            <a:extLst>
              <a:ext uri="{FF2B5EF4-FFF2-40B4-BE49-F238E27FC236}">
                <a16:creationId xmlns:a16="http://schemas.microsoft.com/office/drawing/2014/main" id="{17CADA5B-64A2-4F53-8651-E6BCACCE9CD7}"/>
              </a:ext>
            </a:extLst>
          </p:cNvPr>
          <p:cNvSpPr/>
          <p:nvPr/>
        </p:nvSpPr>
        <p:spPr>
          <a:xfrm rot="10800000">
            <a:off x="5479537" y="3181062"/>
            <a:ext cx="1441191" cy="651508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39867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sz="1050">
              <a:solidFill>
                <a:schemeClr val="tx1"/>
              </a:solidFill>
            </a:endParaRP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C08638F4-E896-D21D-5E8F-FF2A46381FDA}"/>
              </a:ext>
            </a:extLst>
          </p:cNvPr>
          <p:cNvGrpSpPr/>
          <p:nvPr/>
        </p:nvGrpSpPr>
        <p:grpSpPr>
          <a:xfrm>
            <a:off x="5790075" y="2270541"/>
            <a:ext cx="1891526" cy="807582"/>
            <a:chOff x="6632242" y="1378912"/>
            <a:chExt cx="1891526" cy="807582"/>
          </a:xfrm>
        </p:grpSpPr>
        <p:sp>
          <p:nvSpPr>
            <p:cNvPr id="51" name="Rechteck: abgerundete Ecken 50">
              <a:extLst>
                <a:ext uri="{FF2B5EF4-FFF2-40B4-BE49-F238E27FC236}">
                  <a16:creationId xmlns:a16="http://schemas.microsoft.com/office/drawing/2014/main" id="{F0BB826C-F864-D1E8-C761-166E73C78E3F}"/>
                </a:ext>
              </a:extLst>
            </p:cNvPr>
            <p:cNvSpPr/>
            <p:nvPr/>
          </p:nvSpPr>
          <p:spPr>
            <a:xfrm>
              <a:off x="6632242" y="1378912"/>
              <a:ext cx="1891526" cy="80758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  <p:pic>
          <p:nvPicPr>
            <p:cNvPr id="38" name="Grafik 37" descr="Balkendiagramm mit einfarbiger Füllung">
              <a:extLst>
                <a:ext uri="{FF2B5EF4-FFF2-40B4-BE49-F238E27FC236}">
                  <a16:creationId xmlns:a16="http://schemas.microsoft.com/office/drawing/2014/main" id="{6513153A-9EFC-533C-210F-453BCE4ED5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851032" y="1492153"/>
              <a:ext cx="619432" cy="619432"/>
            </a:xfrm>
            <a:prstGeom prst="rect">
              <a:avLst/>
            </a:prstGeom>
          </p:spPr>
        </p:pic>
        <p:pic>
          <p:nvPicPr>
            <p:cNvPr id="53" name="Grafik 52" descr="Lupe mit einfarbiger Füllung">
              <a:extLst>
                <a:ext uri="{FF2B5EF4-FFF2-40B4-BE49-F238E27FC236}">
                  <a16:creationId xmlns:a16="http://schemas.microsoft.com/office/drawing/2014/main" id="{17B9A37D-587C-6456-E412-825BD2A05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5400000">
              <a:off x="7698737" y="1664930"/>
              <a:ext cx="489595" cy="489595"/>
            </a:xfrm>
            <a:prstGeom prst="rect">
              <a:avLst/>
            </a:prstGeom>
          </p:spPr>
        </p:pic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44348F61-AE7F-A0E7-6D0B-0BB37258AFFA}"/>
                </a:ext>
              </a:extLst>
            </p:cNvPr>
            <p:cNvSpPr txBox="1"/>
            <p:nvPr/>
          </p:nvSpPr>
          <p:spPr>
            <a:xfrm>
              <a:off x="6756618" y="1518541"/>
              <a:ext cx="1213366" cy="5116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GB" sz="1000" b="1">
                  <a:solidFill>
                    <a:schemeClr val="accent1"/>
                  </a:solidFill>
                  <a:latin typeface="+mn-lt"/>
                </a:rPr>
                <a:t>Determine</a:t>
              </a:r>
              <a:r>
                <a:rPr lang="en-GB" sz="1000">
                  <a:solidFill>
                    <a:schemeClr val="accent1"/>
                  </a:solidFill>
                  <a:latin typeface="+mn-lt"/>
                </a:rPr>
                <a:t> and </a:t>
              </a:r>
              <a:r>
                <a:rPr lang="en-GB" sz="1000" b="1">
                  <a:solidFill>
                    <a:schemeClr val="accent1"/>
                  </a:solidFill>
                  <a:latin typeface="+mn-lt"/>
                </a:rPr>
                <a:t>label</a:t>
              </a:r>
              <a:r>
                <a:rPr lang="en-GB" sz="1000">
                  <a:solidFill>
                    <a:schemeClr val="accent1"/>
                  </a:solidFill>
                  <a:latin typeface="+mn-lt"/>
                </a:rPr>
                <a:t> 2 </a:t>
              </a:r>
              <a:r>
                <a:rPr lang="en-GB" sz="1000" b="1">
                  <a:solidFill>
                    <a:schemeClr val="accent1"/>
                  </a:solidFill>
                  <a:latin typeface="+mn-lt"/>
                </a:rPr>
                <a:t>most uncertain </a:t>
              </a:r>
              <a:r>
                <a:rPr lang="en-GB" sz="1000">
                  <a:solidFill>
                    <a:schemeClr val="accent1"/>
                  </a:solidFill>
                  <a:latin typeface="+mn-lt"/>
                </a:rPr>
                <a:t>pool samples</a:t>
              </a:r>
            </a:p>
          </p:txBody>
        </p: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E26FDD90-360C-77E2-1E85-AB1EBDE5222E}"/>
              </a:ext>
            </a:extLst>
          </p:cNvPr>
          <p:cNvGrpSpPr/>
          <p:nvPr/>
        </p:nvGrpSpPr>
        <p:grpSpPr>
          <a:xfrm>
            <a:off x="987979" y="2266554"/>
            <a:ext cx="1891526" cy="807582"/>
            <a:chOff x="209605" y="3534402"/>
            <a:chExt cx="1891526" cy="807582"/>
          </a:xfrm>
        </p:grpSpPr>
        <p:sp>
          <p:nvSpPr>
            <p:cNvPr id="56" name="Rechteck: abgerundete Ecken 55">
              <a:extLst>
                <a:ext uri="{FF2B5EF4-FFF2-40B4-BE49-F238E27FC236}">
                  <a16:creationId xmlns:a16="http://schemas.microsoft.com/office/drawing/2014/main" id="{F01FA662-F57D-CFE6-CA3A-4AF0E87DB02F}"/>
                </a:ext>
              </a:extLst>
            </p:cNvPr>
            <p:cNvSpPr/>
            <p:nvPr/>
          </p:nvSpPr>
          <p:spPr>
            <a:xfrm>
              <a:off x="209605" y="3534402"/>
              <a:ext cx="1891526" cy="80758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  <p:pic>
          <p:nvPicPr>
            <p:cNvPr id="58" name="Grafik 57" descr="Zahnräder mit einfarbiger Füllung">
              <a:extLst>
                <a:ext uri="{FF2B5EF4-FFF2-40B4-BE49-F238E27FC236}">
                  <a16:creationId xmlns:a16="http://schemas.microsoft.com/office/drawing/2014/main" id="{F230C409-E91B-B2DA-09CF-92630B21B2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805774">
              <a:off x="1327040" y="3544214"/>
              <a:ext cx="598876" cy="598876"/>
            </a:xfrm>
            <a:prstGeom prst="rect">
              <a:avLst/>
            </a:prstGeom>
          </p:spPr>
        </p:pic>
        <p:pic>
          <p:nvPicPr>
            <p:cNvPr id="60" name="Grafik 59" descr="Zahnrad mit einfarbiger Füllung">
              <a:extLst>
                <a:ext uri="{FF2B5EF4-FFF2-40B4-BE49-F238E27FC236}">
                  <a16:creationId xmlns:a16="http://schemas.microsoft.com/office/drawing/2014/main" id="{902BACB1-F961-E6E7-4B79-0E6A2C0B3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584086" y="3784729"/>
              <a:ext cx="496144" cy="496144"/>
            </a:xfrm>
            <a:prstGeom prst="rect">
              <a:avLst/>
            </a:prstGeom>
          </p:spPr>
        </p:pic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CA8D0BE4-0683-BEC5-DFCE-E9A79C0F93D0}"/>
                </a:ext>
              </a:extLst>
            </p:cNvPr>
            <p:cNvSpPr txBox="1"/>
            <p:nvPr/>
          </p:nvSpPr>
          <p:spPr>
            <a:xfrm>
              <a:off x="402977" y="3718227"/>
              <a:ext cx="1213366" cy="5116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GB" sz="1000" b="1">
                  <a:solidFill>
                    <a:schemeClr val="accent1"/>
                  </a:solidFill>
                  <a:latin typeface="+mn-lt"/>
                </a:rPr>
                <a:t>Retrain</a:t>
              </a:r>
              <a:r>
                <a:rPr lang="en-GB" sz="1000">
                  <a:solidFill>
                    <a:schemeClr val="accent1"/>
                  </a:solidFill>
                  <a:latin typeface="+mn-lt"/>
                </a:rPr>
                <a:t> on </a:t>
              </a:r>
              <a:r>
                <a:rPr lang="en-GB" sz="1000" b="1">
                  <a:solidFill>
                    <a:schemeClr val="accent1"/>
                  </a:solidFill>
                  <a:latin typeface="+mn-lt"/>
                </a:rPr>
                <a:t>“new” train data </a:t>
              </a:r>
              <a:r>
                <a:rPr lang="en-GB" sz="1000">
                  <a:solidFill>
                    <a:schemeClr val="accent1"/>
                  </a:solidFill>
                  <a:latin typeface="+mn-lt"/>
                </a:rPr>
                <a:t>and evaluate on test data</a:t>
              </a:r>
              <a:endParaRPr lang="en-GB" sz="1000" b="1">
                <a:solidFill>
                  <a:schemeClr val="accent1"/>
                </a:solidFill>
                <a:latin typeface="+mn-lt"/>
              </a:endParaRP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C997A616-3484-A66C-D552-EE8694E980E2}"/>
              </a:ext>
            </a:extLst>
          </p:cNvPr>
          <p:cNvGrpSpPr/>
          <p:nvPr/>
        </p:nvGrpSpPr>
        <p:grpSpPr>
          <a:xfrm>
            <a:off x="3375146" y="3120982"/>
            <a:ext cx="2006406" cy="1137982"/>
            <a:chOff x="2879307" y="3079593"/>
            <a:chExt cx="2006406" cy="1137982"/>
          </a:xfrm>
        </p:grpSpPr>
        <p:sp>
          <p:nvSpPr>
            <p:cNvPr id="65" name="Rechteck: abgerundete Ecken 64">
              <a:extLst>
                <a:ext uri="{FF2B5EF4-FFF2-40B4-BE49-F238E27FC236}">
                  <a16:creationId xmlns:a16="http://schemas.microsoft.com/office/drawing/2014/main" id="{74982C1E-0803-5557-BFBF-CFB09F2DF107}"/>
                </a:ext>
              </a:extLst>
            </p:cNvPr>
            <p:cNvSpPr/>
            <p:nvPr/>
          </p:nvSpPr>
          <p:spPr>
            <a:xfrm>
              <a:off x="2879307" y="3079593"/>
              <a:ext cx="2006406" cy="113798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  <p:pic>
          <p:nvPicPr>
            <p:cNvPr id="66" name="Grafik 65" descr="Warenbestand Silhouette">
              <a:extLst>
                <a:ext uri="{FF2B5EF4-FFF2-40B4-BE49-F238E27FC236}">
                  <a16:creationId xmlns:a16="http://schemas.microsoft.com/office/drawing/2014/main" id="{DA20EA3E-2E83-7135-959B-4B76EAD1FA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051957" y="3465427"/>
              <a:ext cx="581258" cy="581258"/>
            </a:xfrm>
            <a:prstGeom prst="rect">
              <a:avLst/>
            </a:prstGeom>
          </p:spPr>
        </p:pic>
        <p:pic>
          <p:nvPicPr>
            <p:cNvPr id="67" name="Grafik 66" descr="Inventar Silhouette">
              <a:extLst>
                <a:ext uri="{FF2B5EF4-FFF2-40B4-BE49-F238E27FC236}">
                  <a16:creationId xmlns:a16="http://schemas.microsoft.com/office/drawing/2014/main" id="{FB554A40-65A7-1431-00BA-494AC0FC36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4168891" y="3469394"/>
              <a:ext cx="587155" cy="587155"/>
            </a:xfrm>
            <a:prstGeom prst="rect">
              <a:avLst/>
            </a:prstGeom>
          </p:spPr>
        </p:pic>
        <p:sp>
          <p:nvSpPr>
            <p:cNvPr id="68" name="Pfeil: nach unten gekrümmt 67">
              <a:extLst>
                <a:ext uri="{FF2B5EF4-FFF2-40B4-BE49-F238E27FC236}">
                  <a16:creationId xmlns:a16="http://schemas.microsoft.com/office/drawing/2014/main" id="{8ABD68C0-3BA7-379D-D236-CC8EE73A4D7A}"/>
                </a:ext>
              </a:extLst>
            </p:cNvPr>
            <p:cNvSpPr/>
            <p:nvPr/>
          </p:nvSpPr>
          <p:spPr>
            <a:xfrm flipH="1">
              <a:off x="3539651" y="3431569"/>
              <a:ext cx="673112" cy="401693"/>
            </a:xfrm>
            <a:prstGeom prst="curved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9709FF26-7902-E7F6-C40A-CB2A3FF0AECB}"/>
                </a:ext>
              </a:extLst>
            </p:cNvPr>
            <p:cNvSpPr txBox="1"/>
            <p:nvPr/>
          </p:nvSpPr>
          <p:spPr>
            <a:xfrm>
              <a:off x="3148776" y="3966263"/>
              <a:ext cx="387620" cy="193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GB" sz="1200" b="1">
                  <a:solidFill>
                    <a:schemeClr val="accent1"/>
                  </a:solidFill>
                  <a:latin typeface="+mn-lt"/>
                </a:rPr>
                <a:t>train</a:t>
              </a:r>
              <a:endParaRPr lang="en-GB" sz="1600" b="1">
                <a:solidFill>
                  <a:schemeClr val="accent1"/>
                </a:solidFill>
                <a:latin typeface="+mn-lt"/>
              </a:endParaRPr>
            </a:p>
          </p:txBody>
        </p: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D3244FD1-5428-D544-3DE8-201920DD53DF}"/>
                </a:ext>
              </a:extLst>
            </p:cNvPr>
            <p:cNvSpPr txBox="1"/>
            <p:nvPr/>
          </p:nvSpPr>
          <p:spPr>
            <a:xfrm>
              <a:off x="4268658" y="3960049"/>
              <a:ext cx="387620" cy="193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GB" sz="1200" b="1">
                  <a:solidFill>
                    <a:schemeClr val="accent1"/>
                  </a:solidFill>
                  <a:latin typeface="+mn-lt"/>
                </a:rPr>
                <a:t>pool</a:t>
              </a:r>
              <a:endParaRPr lang="en-GB" sz="1600" b="1">
                <a:solidFill>
                  <a:schemeClr val="accent1"/>
                </a:solidFill>
                <a:latin typeface="+mn-lt"/>
              </a:endParaRP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DAE4CE48-A0AB-ECCA-FC66-06859D90AC24}"/>
                </a:ext>
              </a:extLst>
            </p:cNvPr>
            <p:cNvSpPr txBox="1"/>
            <p:nvPr/>
          </p:nvSpPr>
          <p:spPr>
            <a:xfrm>
              <a:off x="3009821" y="3180022"/>
              <a:ext cx="1746225" cy="1688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GB" sz="1050" b="1">
                  <a:solidFill>
                    <a:schemeClr val="accent1"/>
                  </a:solidFill>
                  <a:latin typeface="+mn-lt"/>
                </a:rPr>
                <a:t>2 most uncertain samples</a:t>
              </a:r>
              <a:endParaRPr lang="en-GB" sz="1200" b="1">
                <a:solidFill>
                  <a:schemeClr val="accent1"/>
                </a:solidFill>
                <a:latin typeface="+mn-lt"/>
              </a:endParaRPr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6729F74A-5040-E91C-354E-6D5ED10080A2}"/>
                </a:ext>
              </a:extLst>
            </p:cNvPr>
            <p:cNvSpPr txBox="1"/>
            <p:nvPr/>
          </p:nvSpPr>
          <p:spPr>
            <a:xfrm>
              <a:off x="3610563" y="3843652"/>
              <a:ext cx="574488" cy="144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GB" sz="900" b="1">
                  <a:solidFill>
                    <a:schemeClr val="accent1"/>
                  </a:solidFill>
                  <a:latin typeface="+mn-lt"/>
                </a:rPr>
                <a:t>transfer</a:t>
              </a:r>
              <a:endParaRPr lang="en-GB" sz="1100" b="1">
                <a:solidFill>
                  <a:schemeClr val="accent1"/>
                </a:solidFill>
                <a:latin typeface="+mn-lt"/>
              </a:endParaRPr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E2333A60-1825-971B-A5DD-9C9E5B1740D3}"/>
              </a:ext>
            </a:extLst>
          </p:cNvPr>
          <p:cNvGrpSpPr/>
          <p:nvPr/>
        </p:nvGrpSpPr>
        <p:grpSpPr>
          <a:xfrm>
            <a:off x="3206580" y="992273"/>
            <a:ext cx="2351645" cy="1269624"/>
            <a:chOff x="354968" y="3277080"/>
            <a:chExt cx="2006406" cy="1269624"/>
          </a:xfrm>
        </p:grpSpPr>
        <p:sp>
          <p:nvSpPr>
            <p:cNvPr id="32" name="Rechteck: abgerundete Ecken 31">
              <a:extLst>
                <a:ext uri="{FF2B5EF4-FFF2-40B4-BE49-F238E27FC236}">
                  <a16:creationId xmlns:a16="http://schemas.microsoft.com/office/drawing/2014/main" id="{9E04EBFD-DD95-F2E6-1998-72A6CBF061F4}"/>
                </a:ext>
              </a:extLst>
            </p:cNvPr>
            <p:cNvSpPr/>
            <p:nvPr/>
          </p:nvSpPr>
          <p:spPr>
            <a:xfrm>
              <a:off x="354968" y="3277080"/>
              <a:ext cx="2006406" cy="126962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 sz="900">
                <a:solidFill>
                  <a:schemeClr val="accent1"/>
                </a:solidFill>
              </a:endParaRPr>
            </a:p>
          </p:txBody>
        </p:sp>
        <p:pic>
          <p:nvPicPr>
            <p:cNvPr id="45" name="Grafik 44" descr="Inventar Silhouette">
              <a:extLst>
                <a:ext uri="{FF2B5EF4-FFF2-40B4-BE49-F238E27FC236}">
                  <a16:creationId xmlns:a16="http://schemas.microsoft.com/office/drawing/2014/main" id="{1D54161E-277E-64E6-BFD0-4361564490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01692" y="3600159"/>
              <a:ext cx="587155" cy="587155"/>
            </a:xfrm>
            <a:prstGeom prst="rect">
              <a:avLst/>
            </a:prstGeom>
          </p:spPr>
        </p:pic>
        <p:sp>
          <p:nvSpPr>
            <p:cNvPr id="46" name="Pfeil: nach unten gekrümmt 45">
              <a:extLst>
                <a:ext uri="{FF2B5EF4-FFF2-40B4-BE49-F238E27FC236}">
                  <a16:creationId xmlns:a16="http://schemas.microsoft.com/office/drawing/2014/main" id="{AB6EF187-099E-EE26-3BE5-C4C610B8119E}"/>
                </a:ext>
              </a:extLst>
            </p:cNvPr>
            <p:cNvSpPr/>
            <p:nvPr/>
          </p:nvSpPr>
          <p:spPr>
            <a:xfrm>
              <a:off x="1068353" y="3601665"/>
              <a:ext cx="664455" cy="401693"/>
            </a:xfrm>
            <a:prstGeom prst="curved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F06A8062-ECC9-6469-70B3-F0D8FCDB6C5B}"/>
                </a:ext>
              </a:extLst>
            </p:cNvPr>
            <p:cNvSpPr txBox="1"/>
            <p:nvPr/>
          </p:nvSpPr>
          <p:spPr>
            <a:xfrm>
              <a:off x="596892" y="4129252"/>
              <a:ext cx="387620" cy="193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GB" sz="1200" b="1">
                  <a:solidFill>
                    <a:schemeClr val="accent1"/>
                  </a:solidFill>
                  <a:latin typeface="+mn-lt"/>
                </a:rPr>
                <a:t>pool</a:t>
              </a:r>
              <a:endParaRPr lang="en-GB" sz="1600" b="1">
                <a:solidFill>
                  <a:schemeClr val="accent1"/>
                </a:solidFill>
                <a:latin typeface="+mn-lt"/>
              </a:endParaRPr>
            </a:p>
          </p:txBody>
        </p: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3A96324D-B26F-095E-DCCD-F1BBBB1ED49D}"/>
                </a:ext>
              </a:extLst>
            </p:cNvPr>
            <p:cNvSpPr txBox="1"/>
            <p:nvPr/>
          </p:nvSpPr>
          <p:spPr>
            <a:xfrm>
              <a:off x="424252" y="3321074"/>
              <a:ext cx="1867838" cy="1688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GB" sz="1050" b="1">
                  <a:solidFill>
                    <a:schemeClr val="accent1"/>
                  </a:solidFill>
                  <a:latin typeface="+mn-lt"/>
                </a:rPr>
                <a:t>Evaluate informativeness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960691AD-FCF8-6D19-5E71-CC55209D87AA}"/>
                </a:ext>
              </a:extLst>
            </p:cNvPr>
            <p:cNvSpPr txBox="1"/>
            <p:nvPr/>
          </p:nvSpPr>
          <p:spPr>
            <a:xfrm>
              <a:off x="1096403" y="3984623"/>
              <a:ext cx="575618" cy="144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GB" sz="900" b="1">
                  <a:solidFill>
                    <a:schemeClr val="accent1"/>
                  </a:solidFill>
                  <a:latin typeface="+mn-lt"/>
                </a:rPr>
                <a:t>calculate</a:t>
              </a:r>
              <a:endParaRPr lang="en-GB" sz="1100" b="1">
                <a:solidFill>
                  <a:schemeClr val="accent1"/>
                </a:solidFill>
                <a:latin typeface="+mn-lt"/>
              </a:endParaRPr>
            </a:p>
          </p:txBody>
        </p:sp>
        <p:pic>
          <p:nvPicPr>
            <p:cNvPr id="73" name="Grafik 72" descr="Balkendiagramm mit einfarbiger Füllung">
              <a:extLst>
                <a:ext uri="{FF2B5EF4-FFF2-40B4-BE49-F238E27FC236}">
                  <a16:creationId xmlns:a16="http://schemas.microsoft.com/office/drawing/2014/main" id="{01FC9E14-DE42-F1F0-1DA8-80111DF0C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680036" y="3601664"/>
              <a:ext cx="619432" cy="619432"/>
            </a:xfrm>
            <a:prstGeom prst="rect">
              <a:avLst/>
            </a:prstGeom>
          </p:spPr>
        </p:pic>
      </p:grpSp>
      <p:sp>
        <p:nvSpPr>
          <p:cNvPr id="76" name="Textfeld 75">
            <a:extLst>
              <a:ext uri="{FF2B5EF4-FFF2-40B4-BE49-F238E27FC236}">
                <a16:creationId xmlns:a16="http://schemas.microsoft.com/office/drawing/2014/main" id="{AE85A778-8603-80E1-A9A6-0E046ED2C0FD}"/>
              </a:ext>
            </a:extLst>
          </p:cNvPr>
          <p:cNvSpPr txBox="1"/>
          <p:nvPr/>
        </p:nvSpPr>
        <p:spPr>
          <a:xfrm>
            <a:off x="4623093" y="1863384"/>
            <a:ext cx="992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900" b="1">
                <a:solidFill>
                  <a:schemeClr val="accent1"/>
                </a:solidFill>
                <a:latin typeface="+mn-lt"/>
              </a:rPr>
              <a:t>uncertainty of sample pairs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2839324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6"/>
            <a:ext cx="7891317" cy="377796"/>
          </a:xfrm>
        </p:spPr>
        <p:txBody>
          <a:bodyPr vert="horz"/>
          <a:lstStyle/>
          <a:p>
            <a:r>
              <a:rPr lang="en-US" dirty="0"/>
              <a:t>Active Learning: Challenges &amp; next steps</a:t>
            </a:r>
            <a:endParaRPr lang="en-US" dirty="0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4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feld 1">
            <a:extLst>
              <a:ext uri="{FF2B5EF4-FFF2-40B4-BE49-F238E27FC236}">
                <a16:creationId xmlns:a16="http://schemas.microsoft.com/office/drawing/2014/main" id="{2C461AAD-E118-DABA-7207-79837A44891F}"/>
              </a:ext>
            </a:extLst>
          </p:cNvPr>
          <p:cNvSpPr txBox="1"/>
          <p:nvPr/>
        </p:nvSpPr>
        <p:spPr>
          <a:xfrm>
            <a:off x="1990203" y="1257703"/>
            <a:ext cx="5682701" cy="47064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14000"/>
              </a:lnSpc>
            </a:pPr>
            <a:r>
              <a:rPr lang="en-GB" sz="1400" b="1" dirty="0">
                <a:latin typeface="+mn-lt"/>
                <a:cs typeface="Arial"/>
              </a:rPr>
              <a:t>Initial results</a:t>
            </a:r>
            <a:endParaRPr lang="en-GB" sz="1400" b="1" dirty="0"/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GB" sz="1400" dirty="0">
                <a:latin typeface="+mn-lt"/>
                <a:cs typeface="Arial"/>
              </a:rPr>
              <a:t>Unimpressive performance with </a:t>
            </a:r>
            <a:r>
              <a:rPr lang="en-GB" sz="1400" b="1" dirty="0">
                <a:latin typeface="+mn-lt"/>
                <a:cs typeface="Arial"/>
              </a:rPr>
              <a:t>MobilenetV2 </a:t>
            </a:r>
            <a:r>
              <a:rPr lang="en-GB" sz="1400" dirty="0">
                <a:latin typeface="+mn-lt"/>
                <a:cs typeface="Arial"/>
              </a:rPr>
              <a:t>(below </a:t>
            </a:r>
            <a:r>
              <a:rPr lang="en-GB" sz="1400" b="1" dirty="0">
                <a:latin typeface="+mn-lt"/>
                <a:cs typeface="Arial"/>
              </a:rPr>
              <a:t>50%</a:t>
            </a:r>
            <a:r>
              <a:rPr lang="en-GB" sz="1400" dirty="0">
                <a:latin typeface="+mn-lt"/>
                <a:cs typeface="Arial"/>
              </a:rPr>
              <a:t>)</a:t>
            </a:r>
          </a:p>
        </p:txBody>
      </p:sp>
      <p:sp>
        <p:nvSpPr>
          <p:cNvPr id="14" name="Textfeld 1">
            <a:extLst>
              <a:ext uri="{FF2B5EF4-FFF2-40B4-BE49-F238E27FC236}">
                <a16:creationId xmlns:a16="http://schemas.microsoft.com/office/drawing/2014/main" id="{3852F775-E121-355A-0B35-56D22B95FF50}"/>
              </a:ext>
            </a:extLst>
          </p:cNvPr>
          <p:cNvSpPr txBox="1"/>
          <p:nvPr/>
        </p:nvSpPr>
        <p:spPr>
          <a:xfrm>
            <a:off x="1990203" y="2038302"/>
            <a:ext cx="5682701" cy="120738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13999"/>
              </a:lnSpc>
            </a:pPr>
            <a:r>
              <a:rPr lang="en-GB" sz="1400" b="1">
                <a:latin typeface="+mn-lt"/>
                <a:cs typeface="Arial"/>
              </a:rPr>
              <a:t>Possible explanations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GB" sz="1400">
                <a:latin typeface="+mn-lt"/>
                <a:cs typeface="Arial"/>
              </a:rPr>
              <a:t>Obtaining </a:t>
            </a:r>
            <a:r>
              <a:rPr lang="en-GB" sz="1400" b="1">
                <a:latin typeface="+mn-lt"/>
                <a:cs typeface="Arial"/>
              </a:rPr>
              <a:t>feature representation</a:t>
            </a:r>
            <a:r>
              <a:rPr lang="en-GB" sz="1400">
                <a:latin typeface="+mn-lt"/>
                <a:cs typeface="Arial"/>
              </a:rPr>
              <a:t> in minority </a:t>
            </a:r>
            <a:r>
              <a:rPr lang="en-GB" sz="1400" b="1">
                <a:latin typeface="+mn-lt"/>
                <a:cs typeface="Arial"/>
              </a:rPr>
              <a:t>informative </a:t>
            </a:r>
            <a:r>
              <a:rPr lang="en-GB" sz="1400">
                <a:latin typeface="+mn-lt"/>
                <a:cs typeface="Arial"/>
              </a:rPr>
              <a:t>samples difficult with CNNs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GB" sz="1400">
                <a:latin typeface="+mn-lt"/>
                <a:cs typeface="Arial"/>
              </a:rPr>
              <a:t>Assumption: Fixed feature representation for sample selection</a:t>
            </a: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GB" sz="1400">
                <a:latin typeface="+mn-lt"/>
                <a:cs typeface="Arial"/>
              </a:rPr>
              <a:t>Small labelled dataset </a:t>
            </a:r>
            <a:endParaRPr lang="en-GB" sz="1400"/>
          </a:p>
        </p:txBody>
      </p:sp>
      <p:sp>
        <p:nvSpPr>
          <p:cNvPr id="17" name="Textfeld 1">
            <a:extLst>
              <a:ext uri="{FF2B5EF4-FFF2-40B4-BE49-F238E27FC236}">
                <a16:creationId xmlns:a16="http://schemas.microsoft.com/office/drawing/2014/main" id="{6738CA26-F18A-3D73-E64F-1A4936A6FEDF}"/>
              </a:ext>
            </a:extLst>
          </p:cNvPr>
          <p:cNvSpPr txBox="1"/>
          <p:nvPr/>
        </p:nvSpPr>
        <p:spPr>
          <a:xfrm>
            <a:off x="1990203" y="3555641"/>
            <a:ext cx="5682701" cy="47064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113999"/>
              </a:lnSpc>
            </a:pPr>
            <a:r>
              <a:rPr lang="en-GB" sz="1400" b="1">
                <a:latin typeface="+mn-lt"/>
                <a:cs typeface="Arial"/>
              </a:rPr>
              <a:t>Possible Improvements</a:t>
            </a:r>
            <a:endParaRPr lang="en-GB" sz="1400" b="1">
              <a:latin typeface="+mn-lt"/>
            </a:endParaRPr>
          </a:p>
          <a:p>
            <a:pPr marL="742950" lvl="1" indent="-285750">
              <a:lnSpc>
                <a:spcPct val="113999"/>
              </a:lnSpc>
              <a:buFont typeface="Arial"/>
              <a:buChar char="•"/>
            </a:pPr>
            <a:r>
              <a:rPr lang="en-GB" sz="1400">
                <a:latin typeface="+mn-lt"/>
                <a:cs typeface="Arial"/>
              </a:rPr>
              <a:t>Use </a:t>
            </a:r>
            <a:r>
              <a:rPr lang="en-GB" sz="1400" b="1">
                <a:latin typeface="+mn-lt"/>
                <a:cs typeface="Arial"/>
              </a:rPr>
              <a:t>transfer learning</a:t>
            </a:r>
            <a:r>
              <a:rPr lang="en-GB" sz="1400">
                <a:latin typeface="+mn-lt"/>
                <a:cs typeface="Arial"/>
              </a:rPr>
              <a:t> in conjunction with </a:t>
            </a:r>
            <a:r>
              <a:rPr lang="en-GB" sz="1400" b="1">
                <a:latin typeface="+mn-lt"/>
                <a:cs typeface="Arial"/>
              </a:rPr>
              <a:t>active learning</a:t>
            </a:r>
            <a:endParaRPr lang="en-GB" sz="1400">
              <a:latin typeface="+mn-lt"/>
            </a:endParaRPr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DDD14F40-BDCF-A75B-22B5-57BAF7647F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6992" y="4840314"/>
            <a:ext cx="7829538" cy="288515"/>
          </a:xfrm>
        </p:spPr>
        <p:txBody>
          <a:bodyPr/>
          <a:lstStyle/>
          <a:p>
            <a:r>
              <a:rPr lang="pl-PL" dirty="0">
                <a:latin typeface="Arial"/>
                <a:cs typeface="Arial"/>
              </a:rPr>
              <a:t>◻︎ Web Application</a:t>
            </a:r>
            <a:r>
              <a:rPr lang="de-DE" dirty="0">
                <a:latin typeface="Arial"/>
                <a:cs typeface="Arial"/>
              </a:rPr>
              <a:t> |</a:t>
            </a:r>
            <a:r>
              <a:rPr lang="pl-PL" dirty="0">
                <a:latin typeface="Arial"/>
                <a:cs typeface="Arial"/>
              </a:rPr>
              <a:t> ◻︎ Pre</a:t>
            </a:r>
            <a:r>
              <a:rPr lang="de-DE" dirty="0">
                <a:latin typeface="Arial"/>
                <a:cs typeface="Arial"/>
              </a:rPr>
              <a:t>-</a:t>
            </a:r>
            <a:r>
              <a:rPr lang="pl-PL" dirty="0">
                <a:latin typeface="Arial"/>
                <a:cs typeface="Arial"/>
              </a:rPr>
              <a:t>processing </a:t>
            </a:r>
            <a:r>
              <a:rPr lang="pl-PL" b="1" dirty="0">
                <a:latin typeface="Arial"/>
                <a:cs typeface="Arial"/>
              </a:rPr>
              <a:t>|</a:t>
            </a:r>
            <a:r>
              <a:rPr lang="pl-PL" dirty="0">
                <a:latin typeface="Arial"/>
                <a:cs typeface="Arial"/>
              </a:rPr>
              <a:t> ◼︎ </a:t>
            </a:r>
            <a:r>
              <a:rPr lang="de-DE" b="1" dirty="0">
                <a:latin typeface="Arial"/>
                <a:cs typeface="Arial"/>
              </a:rPr>
              <a:t>Modeling</a:t>
            </a:r>
            <a:r>
              <a:rPr lang="pl-PL" dirty="0">
                <a:latin typeface="Arial"/>
                <a:cs typeface="Arial"/>
              </a:rPr>
              <a:t> </a:t>
            </a:r>
            <a:r>
              <a:rPr lang="pl-PL" b="1" dirty="0">
                <a:latin typeface="Arial"/>
                <a:cs typeface="Arial"/>
              </a:rPr>
              <a:t>| </a:t>
            </a:r>
            <a:r>
              <a:rPr lang="pl-PL" dirty="0">
                <a:latin typeface="Arial"/>
                <a:cs typeface="Arial"/>
              </a:rPr>
              <a:t>◻︎ </a:t>
            </a:r>
            <a:r>
              <a:rPr lang="de-DE" dirty="0">
                <a:latin typeface="Arial"/>
                <a:cs typeface="Arial"/>
              </a:rPr>
              <a:t>Challenges </a:t>
            </a:r>
            <a:r>
              <a:rPr lang="pl-PL" b="1" dirty="0">
                <a:latin typeface="Arial"/>
                <a:cs typeface="Arial"/>
              </a:rPr>
              <a:t>| </a:t>
            </a:r>
            <a:r>
              <a:rPr lang="pl-PL" dirty="0">
                <a:latin typeface="Arial"/>
                <a:cs typeface="Arial"/>
              </a:rPr>
              <a:t>◻︎ </a:t>
            </a:r>
            <a:r>
              <a:rPr lang="en-GB" dirty="0">
                <a:latin typeface="Arial"/>
                <a:cs typeface="Arial"/>
              </a:rPr>
              <a:t>Next steps</a:t>
            </a:r>
            <a:endParaRPr lang="en-GB" dirty="0"/>
          </a:p>
        </p:txBody>
      </p:sp>
      <p:grpSp>
        <p:nvGrpSpPr>
          <p:cNvPr id="18" name="bcgIcons_Simplicity">
            <a:extLst>
              <a:ext uri="{FF2B5EF4-FFF2-40B4-BE49-F238E27FC236}">
                <a16:creationId xmlns:a16="http://schemas.microsoft.com/office/drawing/2014/main" id="{8598935F-D2D5-9C7B-7DF2-720C9B855B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07443" y="1133024"/>
            <a:ext cx="719333" cy="720000"/>
            <a:chOff x="1682" y="0"/>
            <a:chExt cx="4316" cy="4320"/>
          </a:xfrm>
        </p:grpSpPr>
        <p:sp>
          <p:nvSpPr>
            <p:cNvPr id="20" name="AutoShape 23">
              <a:extLst>
                <a:ext uri="{FF2B5EF4-FFF2-40B4-BE49-F238E27FC236}">
                  <a16:creationId xmlns:a16="http://schemas.microsoft.com/office/drawing/2014/main" id="{91B7E98D-EA4B-9F0B-F134-391733EB688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5">
              <a:extLst>
                <a:ext uri="{FF2B5EF4-FFF2-40B4-BE49-F238E27FC236}">
                  <a16:creationId xmlns:a16="http://schemas.microsoft.com/office/drawing/2014/main" id="{EE3068E9-6C79-1925-C512-3539D08971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1" y="351"/>
              <a:ext cx="3178" cy="3615"/>
            </a:xfrm>
            <a:custGeom>
              <a:avLst/>
              <a:gdLst>
                <a:gd name="T0" fmla="*/ 1693 w 1696"/>
                <a:gd name="T1" fmla="*/ 1152 h 1928"/>
                <a:gd name="T2" fmla="*/ 1394 w 1696"/>
                <a:gd name="T3" fmla="*/ 1637 h 1928"/>
                <a:gd name="T4" fmla="*/ 865 w 1696"/>
                <a:gd name="T5" fmla="*/ 1831 h 1928"/>
                <a:gd name="T6" fmla="*/ 924 w 1696"/>
                <a:gd name="T7" fmla="*/ 1891 h 1928"/>
                <a:gd name="T8" fmla="*/ 923 w 1696"/>
                <a:gd name="T9" fmla="*/ 1922 h 1928"/>
                <a:gd name="T10" fmla="*/ 908 w 1696"/>
                <a:gd name="T11" fmla="*/ 1928 h 1928"/>
                <a:gd name="T12" fmla="*/ 892 w 1696"/>
                <a:gd name="T13" fmla="*/ 1922 h 1928"/>
                <a:gd name="T14" fmla="*/ 796 w 1696"/>
                <a:gd name="T15" fmla="*/ 1823 h 1928"/>
                <a:gd name="T16" fmla="*/ 796 w 1696"/>
                <a:gd name="T17" fmla="*/ 1791 h 1928"/>
                <a:gd name="T18" fmla="*/ 895 w 1696"/>
                <a:gd name="T19" fmla="*/ 1695 h 1928"/>
                <a:gd name="T20" fmla="*/ 926 w 1696"/>
                <a:gd name="T21" fmla="*/ 1695 h 1928"/>
                <a:gd name="T22" fmla="*/ 926 w 1696"/>
                <a:gd name="T23" fmla="*/ 1726 h 1928"/>
                <a:gd name="T24" fmla="*/ 864 w 1696"/>
                <a:gd name="T25" fmla="*/ 1787 h 1928"/>
                <a:gd name="T26" fmla="*/ 1650 w 1696"/>
                <a:gd name="T27" fmla="*/ 1143 h 1928"/>
                <a:gd name="T28" fmla="*/ 1677 w 1696"/>
                <a:gd name="T29" fmla="*/ 1126 h 1928"/>
                <a:gd name="T30" fmla="*/ 1693 w 1696"/>
                <a:gd name="T31" fmla="*/ 1152 h 1928"/>
                <a:gd name="T32" fmla="*/ 900 w 1696"/>
                <a:gd name="T33" fmla="*/ 107 h 1928"/>
                <a:gd name="T34" fmla="*/ 804 w 1696"/>
                <a:gd name="T35" fmla="*/ 8 h 1928"/>
                <a:gd name="T36" fmla="*/ 773 w 1696"/>
                <a:gd name="T37" fmla="*/ 8 h 1928"/>
                <a:gd name="T38" fmla="*/ 772 w 1696"/>
                <a:gd name="T39" fmla="*/ 39 h 1928"/>
                <a:gd name="T40" fmla="*/ 831 w 1696"/>
                <a:gd name="T41" fmla="*/ 99 h 1928"/>
                <a:gd name="T42" fmla="*/ 302 w 1696"/>
                <a:gd name="T43" fmla="*/ 293 h 1928"/>
                <a:gd name="T44" fmla="*/ 3 w 1696"/>
                <a:gd name="T45" fmla="*/ 778 h 1928"/>
                <a:gd name="T46" fmla="*/ 19 w 1696"/>
                <a:gd name="T47" fmla="*/ 804 h 1928"/>
                <a:gd name="T48" fmla="*/ 24 w 1696"/>
                <a:gd name="T49" fmla="*/ 804 h 1928"/>
                <a:gd name="T50" fmla="*/ 46 w 1696"/>
                <a:gd name="T51" fmla="*/ 787 h 1928"/>
                <a:gd name="T52" fmla="*/ 832 w 1696"/>
                <a:gd name="T53" fmla="*/ 143 h 1928"/>
                <a:gd name="T54" fmla="*/ 770 w 1696"/>
                <a:gd name="T55" fmla="*/ 204 h 1928"/>
                <a:gd name="T56" fmla="*/ 770 w 1696"/>
                <a:gd name="T57" fmla="*/ 235 h 1928"/>
                <a:gd name="T58" fmla="*/ 786 w 1696"/>
                <a:gd name="T59" fmla="*/ 241 h 1928"/>
                <a:gd name="T60" fmla="*/ 801 w 1696"/>
                <a:gd name="T61" fmla="*/ 235 h 1928"/>
                <a:gd name="T62" fmla="*/ 900 w 1696"/>
                <a:gd name="T63" fmla="*/ 139 h 1928"/>
                <a:gd name="T64" fmla="*/ 900 w 1696"/>
                <a:gd name="T65" fmla="*/ 107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96" h="1928">
                  <a:moveTo>
                    <a:pt x="1693" y="1152"/>
                  </a:moveTo>
                  <a:cubicBezTo>
                    <a:pt x="1652" y="1342"/>
                    <a:pt x="1545" y="1514"/>
                    <a:pt x="1394" y="1637"/>
                  </a:cubicBezTo>
                  <a:cubicBezTo>
                    <a:pt x="1245" y="1759"/>
                    <a:pt x="1057" y="1827"/>
                    <a:pt x="865" y="1831"/>
                  </a:cubicBezTo>
                  <a:cubicBezTo>
                    <a:pt x="924" y="1891"/>
                    <a:pt x="924" y="1891"/>
                    <a:pt x="924" y="1891"/>
                  </a:cubicBezTo>
                  <a:cubicBezTo>
                    <a:pt x="932" y="1900"/>
                    <a:pt x="932" y="1914"/>
                    <a:pt x="923" y="1922"/>
                  </a:cubicBezTo>
                  <a:cubicBezTo>
                    <a:pt x="919" y="1926"/>
                    <a:pt x="913" y="1928"/>
                    <a:pt x="908" y="1928"/>
                  </a:cubicBezTo>
                  <a:cubicBezTo>
                    <a:pt x="902" y="1928"/>
                    <a:pt x="896" y="1926"/>
                    <a:pt x="892" y="1922"/>
                  </a:cubicBezTo>
                  <a:cubicBezTo>
                    <a:pt x="796" y="1823"/>
                    <a:pt x="796" y="1823"/>
                    <a:pt x="796" y="1823"/>
                  </a:cubicBezTo>
                  <a:cubicBezTo>
                    <a:pt x="787" y="1814"/>
                    <a:pt x="787" y="1800"/>
                    <a:pt x="796" y="1791"/>
                  </a:cubicBezTo>
                  <a:cubicBezTo>
                    <a:pt x="895" y="1695"/>
                    <a:pt x="895" y="1695"/>
                    <a:pt x="895" y="1695"/>
                  </a:cubicBezTo>
                  <a:cubicBezTo>
                    <a:pt x="904" y="1686"/>
                    <a:pt x="918" y="1687"/>
                    <a:pt x="926" y="1695"/>
                  </a:cubicBezTo>
                  <a:cubicBezTo>
                    <a:pt x="935" y="1704"/>
                    <a:pt x="934" y="1718"/>
                    <a:pt x="926" y="1726"/>
                  </a:cubicBezTo>
                  <a:cubicBezTo>
                    <a:pt x="864" y="1787"/>
                    <a:pt x="864" y="1787"/>
                    <a:pt x="864" y="1787"/>
                  </a:cubicBezTo>
                  <a:cubicBezTo>
                    <a:pt x="1240" y="1779"/>
                    <a:pt x="1569" y="1511"/>
                    <a:pt x="1650" y="1143"/>
                  </a:cubicBezTo>
                  <a:cubicBezTo>
                    <a:pt x="1653" y="1131"/>
                    <a:pt x="1665" y="1124"/>
                    <a:pt x="1677" y="1126"/>
                  </a:cubicBezTo>
                  <a:cubicBezTo>
                    <a:pt x="1689" y="1129"/>
                    <a:pt x="1696" y="1141"/>
                    <a:pt x="1693" y="1152"/>
                  </a:cubicBezTo>
                  <a:close/>
                  <a:moveTo>
                    <a:pt x="900" y="107"/>
                  </a:moveTo>
                  <a:cubicBezTo>
                    <a:pt x="804" y="8"/>
                    <a:pt x="804" y="8"/>
                    <a:pt x="804" y="8"/>
                  </a:cubicBezTo>
                  <a:cubicBezTo>
                    <a:pt x="795" y="0"/>
                    <a:pt x="782" y="0"/>
                    <a:pt x="773" y="8"/>
                  </a:cubicBezTo>
                  <a:cubicBezTo>
                    <a:pt x="764" y="17"/>
                    <a:pt x="764" y="30"/>
                    <a:pt x="772" y="39"/>
                  </a:cubicBezTo>
                  <a:cubicBezTo>
                    <a:pt x="831" y="99"/>
                    <a:pt x="831" y="99"/>
                    <a:pt x="831" y="99"/>
                  </a:cubicBezTo>
                  <a:cubicBezTo>
                    <a:pt x="639" y="103"/>
                    <a:pt x="451" y="172"/>
                    <a:pt x="302" y="293"/>
                  </a:cubicBezTo>
                  <a:cubicBezTo>
                    <a:pt x="151" y="416"/>
                    <a:pt x="44" y="588"/>
                    <a:pt x="3" y="778"/>
                  </a:cubicBezTo>
                  <a:cubicBezTo>
                    <a:pt x="0" y="789"/>
                    <a:pt x="7" y="801"/>
                    <a:pt x="19" y="804"/>
                  </a:cubicBezTo>
                  <a:cubicBezTo>
                    <a:pt x="21" y="804"/>
                    <a:pt x="23" y="804"/>
                    <a:pt x="24" y="804"/>
                  </a:cubicBezTo>
                  <a:cubicBezTo>
                    <a:pt x="34" y="804"/>
                    <a:pt x="43" y="797"/>
                    <a:pt x="46" y="787"/>
                  </a:cubicBezTo>
                  <a:cubicBezTo>
                    <a:pt x="127" y="419"/>
                    <a:pt x="456" y="151"/>
                    <a:pt x="832" y="143"/>
                  </a:cubicBezTo>
                  <a:cubicBezTo>
                    <a:pt x="770" y="204"/>
                    <a:pt x="770" y="204"/>
                    <a:pt x="770" y="204"/>
                  </a:cubicBezTo>
                  <a:cubicBezTo>
                    <a:pt x="762" y="212"/>
                    <a:pt x="761" y="226"/>
                    <a:pt x="770" y="235"/>
                  </a:cubicBezTo>
                  <a:cubicBezTo>
                    <a:pt x="774" y="239"/>
                    <a:pt x="780" y="241"/>
                    <a:pt x="786" y="241"/>
                  </a:cubicBezTo>
                  <a:cubicBezTo>
                    <a:pt x="791" y="241"/>
                    <a:pt x="797" y="239"/>
                    <a:pt x="801" y="235"/>
                  </a:cubicBezTo>
                  <a:cubicBezTo>
                    <a:pt x="900" y="139"/>
                    <a:pt x="900" y="139"/>
                    <a:pt x="900" y="139"/>
                  </a:cubicBezTo>
                  <a:cubicBezTo>
                    <a:pt x="909" y="130"/>
                    <a:pt x="909" y="116"/>
                    <a:pt x="900" y="10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6">
              <a:extLst>
                <a:ext uri="{FF2B5EF4-FFF2-40B4-BE49-F238E27FC236}">
                  <a16:creationId xmlns:a16="http://schemas.microsoft.com/office/drawing/2014/main" id="{EF164813-3ED7-DBFC-E97C-14B5111E8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2" y="570"/>
              <a:ext cx="3616" cy="3176"/>
            </a:xfrm>
            <a:custGeom>
              <a:avLst/>
              <a:gdLst>
                <a:gd name="T0" fmla="*/ 1922 w 1930"/>
                <a:gd name="T1" fmla="*/ 804 h 1694"/>
                <a:gd name="T2" fmla="*/ 1823 w 1930"/>
                <a:gd name="T3" fmla="*/ 900 h 1694"/>
                <a:gd name="T4" fmla="*/ 1807 w 1930"/>
                <a:gd name="T5" fmla="*/ 907 h 1694"/>
                <a:gd name="T6" fmla="*/ 1791 w 1930"/>
                <a:gd name="T7" fmla="*/ 900 h 1694"/>
                <a:gd name="T8" fmla="*/ 1695 w 1930"/>
                <a:gd name="T9" fmla="*/ 801 h 1694"/>
                <a:gd name="T10" fmla="*/ 1695 w 1930"/>
                <a:gd name="T11" fmla="*/ 770 h 1694"/>
                <a:gd name="T12" fmla="*/ 1726 w 1930"/>
                <a:gd name="T13" fmla="*/ 770 h 1694"/>
                <a:gd name="T14" fmla="*/ 1787 w 1930"/>
                <a:gd name="T15" fmla="*/ 832 h 1694"/>
                <a:gd name="T16" fmla="*/ 1143 w 1930"/>
                <a:gd name="T17" fmla="*/ 46 h 1694"/>
                <a:gd name="T18" fmla="*/ 1126 w 1930"/>
                <a:gd name="T19" fmla="*/ 19 h 1694"/>
                <a:gd name="T20" fmla="*/ 1152 w 1930"/>
                <a:gd name="T21" fmla="*/ 3 h 1694"/>
                <a:gd name="T22" fmla="*/ 1637 w 1930"/>
                <a:gd name="T23" fmla="*/ 302 h 1694"/>
                <a:gd name="T24" fmla="*/ 1831 w 1930"/>
                <a:gd name="T25" fmla="*/ 831 h 1694"/>
                <a:gd name="T26" fmla="*/ 1891 w 1930"/>
                <a:gd name="T27" fmla="*/ 772 h 1694"/>
                <a:gd name="T28" fmla="*/ 1922 w 1930"/>
                <a:gd name="T29" fmla="*/ 773 h 1694"/>
                <a:gd name="T30" fmla="*/ 1922 w 1930"/>
                <a:gd name="T31" fmla="*/ 804 h 1694"/>
                <a:gd name="T32" fmla="*/ 787 w 1930"/>
                <a:gd name="T33" fmla="*/ 1651 h 1694"/>
                <a:gd name="T34" fmla="*/ 143 w 1930"/>
                <a:gd name="T35" fmla="*/ 864 h 1694"/>
                <a:gd name="T36" fmla="*/ 204 w 1930"/>
                <a:gd name="T37" fmla="*/ 926 h 1694"/>
                <a:gd name="T38" fmla="*/ 219 w 1930"/>
                <a:gd name="T39" fmla="*/ 932 h 1694"/>
                <a:gd name="T40" fmla="*/ 235 w 1930"/>
                <a:gd name="T41" fmla="*/ 926 h 1694"/>
                <a:gd name="T42" fmla="*/ 235 w 1930"/>
                <a:gd name="T43" fmla="*/ 895 h 1694"/>
                <a:gd name="T44" fmla="*/ 139 w 1930"/>
                <a:gd name="T45" fmla="*/ 796 h 1694"/>
                <a:gd name="T46" fmla="*/ 107 w 1930"/>
                <a:gd name="T47" fmla="*/ 796 h 1694"/>
                <a:gd name="T48" fmla="*/ 8 w 1930"/>
                <a:gd name="T49" fmla="*/ 892 h 1694"/>
                <a:gd name="T50" fmla="*/ 8 w 1930"/>
                <a:gd name="T51" fmla="*/ 923 h 1694"/>
                <a:gd name="T52" fmla="*/ 39 w 1930"/>
                <a:gd name="T53" fmla="*/ 924 h 1694"/>
                <a:gd name="T54" fmla="*/ 99 w 1930"/>
                <a:gd name="T55" fmla="*/ 865 h 1694"/>
                <a:gd name="T56" fmla="*/ 293 w 1930"/>
                <a:gd name="T57" fmla="*/ 1394 h 1694"/>
                <a:gd name="T58" fmla="*/ 778 w 1930"/>
                <a:gd name="T59" fmla="*/ 1693 h 1694"/>
                <a:gd name="T60" fmla="*/ 782 w 1930"/>
                <a:gd name="T61" fmla="*/ 1694 h 1694"/>
                <a:gd name="T62" fmla="*/ 804 w 1930"/>
                <a:gd name="T63" fmla="*/ 1677 h 1694"/>
                <a:gd name="T64" fmla="*/ 787 w 1930"/>
                <a:gd name="T65" fmla="*/ 1651 h 1694"/>
                <a:gd name="T66" fmla="*/ 1473 w 1930"/>
                <a:gd name="T67" fmla="*/ 848 h 1694"/>
                <a:gd name="T68" fmla="*/ 965 w 1930"/>
                <a:gd name="T69" fmla="*/ 1356 h 1694"/>
                <a:gd name="T70" fmla="*/ 457 w 1930"/>
                <a:gd name="T71" fmla="*/ 848 h 1694"/>
                <a:gd name="T72" fmla="*/ 965 w 1930"/>
                <a:gd name="T73" fmla="*/ 340 h 1694"/>
                <a:gd name="T74" fmla="*/ 1473 w 1930"/>
                <a:gd name="T75" fmla="*/ 848 h 1694"/>
                <a:gd name="T76" fmla="*/ 1290 w 1930"/>
                <a:gd name="T77" fmla="*/ 639 h 1694"/>
                <a:gd name="T78" fmla="*/ 1259 w 1930"/>
                <a:gd name="T79" fmla="*/ 640 h 1694"/>
                <a:gd name="T80" fmla="*/ 921 w 1930"/>
                <a:gd name="T81" fmla="*/ 988 h 1694"/>
                <a:gd name="T82" fmla="*/ 735 w 1930"/>
                <a:gd name="T83" fmla="*/ 819 h 1694"/>
                <a:gd name="T84" fmla="*/ 704 w 1930"/>
                <a:gd name="T85" fmla="*/ 820 h 1694"/>
                <a:gd name="T86" fmla="*/ 705 w 1930"/>
                <a:gd name="T87" fmla="*/ 851 h 1694"/>
                <a:gd name="T88" fmla="*/ 907 w 1930"/>
                <a:gd name="T89" fmla="*/ 1035 h 1694"/>
                <a:gd name="T90" fmla="*/ 922 w 1930"/>
                <a:gd name="T91" fmla="*/ 1041 h 1694"/>
                <a:gd name="T92" fmla="*/ 937 w 1930"/>
                <a:gd name="T93" fmla="*/ 1034 h 1694"/>
                <a:gd name="T94" fmla="*/ 1290 w 1930"/>
                <a:gd name="T95" fmla="*/ 671 h 1694"/>
                <a:gd name="T96" fmla="*/ 1290 w 1930"/>
                <a:gd name="T97" fmla="*/ 639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30" h="1694">
                  <a:moveTo>
                    <a:pt x="1922" y="804"/>
                  </a:moveTo>
                  <a:cubicBezTo>
                    <a:pt x="1823" y="900"/>
                    <a:pt x="1823" y="900"/>
                    <a:pt x="1823" y="900"/>
                  </a:cubicBezTo>
                  <a:cubicBezTo>
                    <a:pt x="1818" y="905"/>
                    <a:pt x="1813" y="907"/>
                    <a:pt x="1807" y="907"/>
                  </a:cubicBezTo>
                  <a:cubicBezTo>
                    <a:pt x="1801" y="907"/>
                    <a:pt x="1796" y="904"/>
                    <a:pt x="1791" y="900"/>
                  </a:cubicBezTo>
                  <a:cubicBezTo>
                    <a:pt x="1695" y="801"/>
                    <a:pt x="1695" y="801"/>
                    <a:pt x="1695" y="801"/>
                  </a:cubicBezTo>
                  <a:cubicBezTo>
                    <a:pt x="1686" y="792"/>
                    <a:pt x="1687" y="778"/>
                    <a:pt x="1695" y="770"/>
                  </a:cubicBezTo>
                  <a:cubicBezTo>
                    <a:pt x="1704" y="761"/>
                    <a:pt x="1718" y="762"/>
                    <a:pt x="1726" y="770"/>
                  </a:cubicBezTo>
                  <a:cubicBezTo>
                    <a:pt x="1787" y="832"/>
                    <a:pt x="1787" y="832"/>
                    <a:pt x="1787" y="832"/>
                  </a:cubicBezTo>
                  <a:cubicBezTo>
                    <a:pt x="1779" y="456"/>
                    <a:pt x="1511" y="127"/>
                    <a:pt x="1143" y="46"/>
                  </a:cubicBezTo>
                  <a:cubicBezTo>
                    <a:pt x="1131" y="43"/>
                    <a:pt x="1124" y="31"/>
                    <a:pt x="1126" y="19"/>
                  </a:cubicBezTo>
                  <a:cubicBezTo>
                    <a:pt x="1129" y="8"/>
                    <a:pt x="1141" y="0"/>
                    <a:pt x="1152" y="3"/>
                  </a:cubicBezTo>
                  <a:cubicBezTo>
                    <a:pt x="1342" y="44"/>
                    <a:pt x="1514" y="151"/>
                    <a:pt x="1637" y="302"/>
                  </a:cubicBezTo>
                  <a:cubicBezTo>
                    <a:pt x="1759" y="451"/>
                    <a:pt x="1827" y="639"/>
                    <a:pt x="1831" y="831"/>
                  </a:cubicBezTo>
                  <a:cubicBezTo>
                    <a:pt x="1891" y="772"/>
                    <a:pt x="1891" y="772"/>
                    <a:pt x="1891" y="772"/>
                  </a:cubicBezTo>
                  <a:cubicBezTo>
                    <a:pt x="1900" y="764"/>
                    <a:pt x="1914" y="764"/>
                    <a:pt x="1922" y="773"/>
                  </a:cubicBezTo>
                  <a:cubicBezTo>
                    <a:pt x="1930" y="781"/>
                    <a:pt x="1930" y="795"/>
                    <a:pt x="1922" y="804"/>
                  </a:cubicBezTo>
                  <a:close/>
                  <a:moveTo>
                    <a:pt x="787" y="1651"/>
                  </a:moveTo>
                  <a:cubicBezTo>
                    <a:pt x="419" y="1569"/>
                    <a:pt x="151" y="1240"/>
                    <a:pt x="143" y="864"/>
                  </a:cubicBezTo>
                  <a:cubicBezTo>
                    <a:pt x="204" y="926"/>
                    <a:pt x="204" y="926"/>
                    <a:pt x="204" y="926"/>
                  </a:cubicBezTo>
                  <a:cubicBezTo>
                    <a:pt x="208" y="930"/>
                    <a:pt x="214" y="932"/>
                    <a:pt x="219" y="932"/>
                  </a:cubicBezTo>
                  <a:cubicBezTo>
                    <a:pt x="225" y="932"/>
                    <a:pt x="230" y="930"/>
                    <a:pt x="235" y="926"/>
                  </a:cubicBezTo>
                  <a:cubicBezTo>
                    <a:pt x="243" y="918"/>
                    <a:pt x="244" y="904"/>
                    <a:pt x="235" y="895"/>
                  </a:cubicBezTo>
                  <a:cubicBezTo>
                    <a:pt x="139" y="796"/>
                    <a:pt x="139" y="796"/>
                    <a:pt x="139" y="796"/>
                  </a:cubicBezTo>
                  <a:cubicBezTo>
                    <a:pt x="130" y="787"/>
                    <a:pt x="116" y="787"/>
                    <a:pt x="107" y="796"/>
                  </a:cubicBezTo>
                  <a:cubicBezTo>
                    <a:pt x="8" y="892"/>
                    <a:pt x="8" y="892"/>
                    <a:pt x="8" y="892"/>
                  </a:cubicBezTo>
                  <a:cubicBezTo>
                    <a:pt x="0" y="901"/>
                    <a:pt x="0" y="915"/>
                    <a:pt x="8" y="923"/>
                  </a:cubicBezTo>
                  <a:cubicBezTo>
                    <a:pt x="16" y="932"/>
                    <a:pt x="30" y="932"/>
                    <a:pt x="39" y="924"/>
                  </a:cubicBezTo>
                  <a:cubicBezTo>
                    <a:pt x="99" y="865"/>
                    <a:pt x="99" y="865"/>
                    <a:pt x="99" y="865"/>
                  </a:cubicBezTo>
                  <a:cubicBezTo>
                    <a:pt x="103" y="1057"/>
                    <a:pt x="172" y="1245"/>
                    <a:pt x="293" y="1394"/>
                  </a:cubicBezTo>
                  <a:cubicBezTo>
                    <a:pt x="416" y="1545"/>
                    <a:pt x="588" y="1652"/>
                    <a:pt x="778" y="1693"/>
                  </a:cubicBezTo>
                  <a:cubicBezTo>
                    <a:pt x="779" y="1694"/>
                    <a:pt x="781" y="1694"/>
                    <a:pt x="782" y="1694"/>
                  </a:cubicBezTo>
                  <a:cubicBezTo>
                    <a:pt x="792" y="1694"/>
                    <a:pt x="802" y="1687"/>
                    <a:pt x="804" y="1677"/>
                  </a:cubicBezTo>
                  <a:cubicBezTo>
                    <a:pt x="806" y="1665"/>
                    <a:pt x="799" y="1653"/>
                    <a:pt x="787" y="1651"/>
                  </a:cubicBezTo>
                  <a:close/>
                  <a:moveTo>
                    <a:pt x="1473" y="848"/>
                  </a:moveTo>
                  <a:cubicBezTo>
                    <a:pt x="1473" y="1129"/>
                    <a:pt x="1246" y="1356"/>
                    <a:pt x="965" y="1356"/>
                  </a:cubicBezTo>
                  <a:cubicBezTo>
                    <a:pt x="684" y="1356"/>
                    <a:pt x="457" y="1129"/>
                    <a:pt x="457" y="848"/>
                  </a:cubicBezTo>
                  <a:cubicBezTo>
                    <a:pt x="457" y="567"/>
                    <a:pt x="684" y="340"/>
                    <a:pt x="965" y="340"/>
                  </a:cubicBezTo>
                  <a:cubicBezTo>
                    <a:pt x="1246" y="340"/>
                    <a:pt x="1473" y="567"/>
                    <a:pt x="1473" y="848"/>
                  </a:cubicBezTo>
                  <a:close/>
                  <a:moveTo>
                    <a:pt x="1290" y="639"/>
                  </a:moveTo>
                  <a:cubicBezTo>
                    <a:pt x="1281" y="631"/>
                    <a:pt x="1267" y="631"/>
                    <a:pt x="1259" y="640"/>
                  </a:cubicBezTo>
                  <a:cubicBezTo>
                    <a:pt x="921" y="988"/>
                    <a:pt x="921" y="988"/>
                    <a:pt x="921" y="988"/>
                  </a:cubicBezTo>
                  <a:cubicBezTo>
                    <a:pt x="735" y="819"/>
                    <a:pt x="735" y="819"/>
                    <a:pt x="735" y="819"/>
                  </a:cubicBezTo>
                  <a:cubicBezTo>
                    <a:pt x="726" y="810"/>
                    <a:pt x="712" y="811"/>
                    <a:pt x="704" y="820"/>
                  </a:cubicBezTo>
                  <a:cubicBezTo>
                    <a:pt x="696" y="829"/>
                    <a:pt x="696" y="843"/>
                    <a:pt x="705" y="851"/>
                  </a:cubicBezTo>
                  <a:cubicBezTo>
                    <a:pt x="907" y="1035"/>
                    <a:pt x="907" y="1035"/>
                    <a:pt x="907" y="1035"/>
                  </a:cubicBezTo>
                  <a:cubicBezTo>
                    <a:pt x="911" y="1039"/>
                    <a:pt x="916" y="1041"/>
                    <a:pt x="922" y="1041"/>
                  </a:cubicBezTo>
                  <a:cubicBezTo>
                    <a:pt x="927" y="1041"/>
                    <a:pt x="933" y="1039"/>
                    <a:pt x="937" y="1034"/>
                  </a:cubicBezTo>
                  <a:cubicBezTo>
                    <a:pt x="1290" y="671"/>
                    <a:pt x="1290" y="671"/>
                    <a:pt x="1290" y="671"/>
                  </a:cubicBezTo>
                  <a:cubicBezTo>
                    <a:pt x="1299" y="662"/>
                    <a:pt x="1299" y="648"/>
                    <a:pt x="1290" y="6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Group 12">
            <a:extLst>
              <a:ext uri="{FF2B5EF4-FFF2-40B4-BE49-F238E27FC236}">
                <a16:creationId xmlns:a16="http://schemas.microsoft.com/office/drawing/2014/main" id="{BE8FE023-8E5A-EF3D-1BD7-F393B2AEF4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07442" y="3430962"/>
            <a:ext cx="719334" cy="720000"/>
            <a:chOff x="1682" y="0"/>
            <a:chExt cx="4316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6BEECCBC-77A3-65FD-3687-60D7F62C2CF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B8A12466-00C4-4DBD-ED05-380CAEE377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0" y="501"/>
              <a:ext cx="1952" cy="2366"/>
            </a:xfrm>
            <a:custGeom>
              <a:avLst/>
              <a:gdLst>
                <a:gd name="T0" fmla="*/ 679 w 1042"/>
                <a:gd name="T1" fmla="*/ 1055 h 1262"/>
                <a:gd name="T2" fmla="*/ 528 w 1042"/>
                <a:gd name="T3" fmla="*/ 913 h 1262"/>
                <a:gd name="T4" fmla="*/ 579 w 1042"/>
                <a:gd name="T5" fmla="*/ 571 h 1262"/>
                <a:gd name="T6" fmla="*/ 500 w 1042"/>
                <a:gd name="T7" fmla="*/ 812 h 1262"/>
                <a:gd name="T8" fmla="*/ 579 w 1042"/>
                <a:gd name="T9" fmla="*/ 571 h 1262"/>
                <a:gd name="T10" fmla="*/ 738 w 1042"/>
                <a:gd name="T11" fmla="*/ 499 h 1262"/>
                <a:gd name="T12" fmla="*/ 926 w 1042"/>
                <a:gd name="T13" fmla="*/ 576 h 1262"/>
                <a:gd name="T14" fmla="*/ 934 w 1042"/>
                <a:gd name="T15" fmla="*/ 533 h 1262"/>
                <a:gd name="T16" fmla="*/ 800 w 1042"/>
                <a:gd name="T17" fmla="*/ 133 h 1262"/>
                <a:gd name="T18" fmla="*/ 1022 w 1042"/>
                <a:gd name="T19" fmla="*/ 477 h 1262"/>
                <a:gd name="T20" fmla="*/ 821 w 1042"/>
                <a:gd name="T21" fmla="*/ 94 h 1262"/>
                <a:gd name="T22" fmla="*/ 728 w 1042"/>
                <a:gd name="T23" fmla="*/ 165 h 1262"/>
                <a:gd name="T24" fmla="*/ 639 w 1042"/>
                <a:gd name="T25" fmla="*/ 403 h 1262"/>
                <a:gd name="T26" fmla="*/ 682 w 1042"/>
                <a:gd name="T27" fmla="*/ 411 h 1262"/>
                <a:gd name="T28" fmla="*/ 728 w 1042"/>
                <a:gd name="T29" fmla="*/ 165 h 1262"/>
                <a:gd name="T30" fmla="*/ 654 w 1042"/>
                <a:gd name="T31" fmla="*/ 130 h 1262"/>
                <a:gd name="T32" fmla="*/ 338 w 1042"/>
                <a:gd name="T33" fmla="*/ 237 h 1262"/>
                <a:gd name="T34" fmla="*/ 135 w 1042"/>
                <a:gd name="T35" fmla="*/ 664 h 1262"/>
                <a:gd name="T36" fmla="*/ 207 w 1042"/>
                <a:gd name="T37" fmla="*/ 376 h 1262"/>
                <a:gd name="T38" fmla="*/ 135 w 1042"/>
                <a:gd name="T39" fmla="*/ 664 h 1262"/>
                <a:gd name="T40" fmla="*/ 979 w 1042"/>
                <a:gd name="T41" fmla="*/ 659 h 1262"/>
                <a:gd name="T42" fmla="*/ 772 w 1042"/>
                <a:gd name="T43" fmla="*/ 988 h 1262"/>
                <a:gd name="T44" fmla="*/ 915 w 1042"/>
                <a:gd name="T45" fmla="*/ 864 h 1262"/>
                <a:gd name="T46" fmla="*/ 1022 w 1042"/>
                <a:gd name="T47" fmla="*/ 669 h 1262"/>
                <a:gd name="T48" fmla="*/ 548 w 1042"/>
                <a:gd name="T49" fmla="*/ 516 h 1262"/>
                <a:gd name="T50" fmla="*/ 173 w 1042"/>
                <a:gd name="T51" fmla="*/ 725 h 1262"/>
                <a:gd name="T52" fmla="*/ 548 w 1042"/>
                <a:gd name="T53" fmla="*/ 516 h 1262"/>
                <a:gd name="T54" fmla="*/ 44 w 1042"/>
                <a:gd name="T55" fmla="*/ 521 h 1262"/>
                <a:gd name="T56" fmla="*/ 633 w 1042"/>
                <a:gd name="T57" fmla="*/ 57 h 1262"/>
                <a:gd name="T58" fmla="*/ 522 w 1042"/>
                <a:gd name="T59" fmla="*/ 0 h 1262"/>
                <a:gd name="T60" fmla="*/ 21 w 1042"/>
                <a:gd name="T61" fmla="*/ 665 h 1262"/>
                <a:gd name="T62" fmla="*/ 781 w 1042"/>
                <a:gd name="T63" fmla="*/ 1262 h 1262"/>
                <a:gd name="T64" fmla="*/ 770 w 1042"/>
                <a:gd name="T65" fmla="*/ 1180 h 1262"/>
                <a:gd name="T66" fmla="*/ 737 w 1042"/>
                <a:gd name="T67" fmla="*/ 1262 h 1262"/>
                <a:gd name="T68" fmla="*/ 263 w 1042"/>
                <a:gd name="T69" fmla="*/ 1262 h 1262"/>
                <a:gd name="T70" fmla="*/ 307 w 1042"/>
                <a:gd name="T71" fmla="*/ 1130 h 1262"/>
                <a:gd name="T72" fmla="*/ 144 w 1042"/>
                <a:gd name="T73" fmla="*/ 813 h 1262"/>
                <a:gd name="T74" fmla="*/ 128 w 1042"/>
                <a:gd name="T75" fmla="*/ 862 h 1262"/>
                <a:gd name="T76" fmla="*/ 263 w 1042"/>
                <a:gd name="T77" fmla="*/ 1130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42" h="1262">
                  <a:moveTo>
                    <a:pt x="505" y="951"/>
                  </a:moveTo>
                  <a:cubicBezTo>
                    <a:pt x="679" y="1055"/>
                    <a:pt x="679" y="1055"/>
                    <a:pt x="679" y="1055"/>
                  </a:cubicBezTo>
                  <a:cubicBezTo>
                    <a:pt x="683" y="1040"/>
                    <a:pt x="691" y="1028"/>
                    <a:pt x="702" y="1017"/>
                  </a:cubicBezTo>
                  <a:cubicBezTo>
                    <a:pt x="528" y="913"/>
                    <a:pt x="528" y="913"/>
                    <a:pt x="528" y="913"/>
                  </a:cubicBezTo>
                  <a:cubicBezTo>
                    <a:pt x="523" y="927"/>
                    <a:pt x="515" y="940"/>
                    <a:pt x="505" y="951"/>
                  </a:cubicBezTo>
                  <a:close/>
                  <a:moveTo>
                    <a:pt x="579" y="571"/>
                  </a:moveTo>
                  <a:cubicBezTo>
                    <a:pt x="461" y="791"/>
                    <a:pt x="461" y="791"/>
                    <a:pt x="461" y="791"/>
                  </a:cubicBezTo>
                  <a:cubicBezTo>
                    <a:pt x="476" y="795"/>
                    <a:pt x="489" y="802"/>
                    <a:pt x="500" y="812"/>
                  </a:cubicBezTo>
                  <a:cubicBezTo>
                    <a:pt x="618" y="592"/>
                    <a:pt x="618" y="592"/>
                    <a:pt x="618" y="592"/>
                  </a:cubicBezTo>
                  <a:cubicBezTo>
                    <a:pt x="603" y="588"/>
                    <a:pt x="590" y="580"/>
                    <a:pt x="579" y="571"/>
                  </a:cubicBezTo>
                  <a:close/>
                  <a:moveTo>
                    <a:pt x="738" y="495"/>
                  </a:moveTo>
                  <a:cubicBezTo>
                    <a:pt x="738" y="496"/>
                    <a:pt x="738" y="498"/>
                    <a:pt x="738" y="499"/>
                  </a:cubicBezTo>
                  <a:cubicBezTo>
                    <a:pt x="738" y="513"/>
                    <a:pt x="735" y="526"/>
                    <a:pt x="730" y="538"/>
                  </a:cubicBezTo>
                  <a:cubicBezTo>
                    <a:pt x="926" y="576"/>
                    <a:pt x="926" y="576"/>
                    <a:pt x="926" y="576"/>
                  </a:cubicBezTo>
                  <a:cubicBezTo>
                    <a:pt x="926" y="575"/>
                    <a:pt x="926" y="574"/>
                    <a:pt x="926" y="573"/>
                  </a:cubicBezTo>
                  <a:cubicBezTo>
                    <a:pt x="926" y="559"/>
                    <a:pt x="929" y="545"/>
                    <a:pt x="934" y="533"/>
                  </a:cubicBezTo>
                  <a:lnTo>
                    <a:pt x="738" y="495"/>
                  </a:lnTo>
                  <a:close/>
                  <a:moveTo>
                    <a:pt x="800" y="133"/>
                  </a:moveTo>
                  <a:cubicBezTo>
                    <a:pt x="910" y="212"/>
                    <a:pt x="986" y="337"/>
                    <a:pt x="998" y="480"/>
                  </a:cubicBezTo>
                  <a:cubicBezTo>
                    <a:pt x="1005" y="478"/>
                    <a:pt x="1013" y="477"/>
                    <a:pt x="1022" y="477"/>
                  </a:cubicBezTo>
                  <a:cubicBezTo>
                    <a:pt x="1029" y="477"/>
                    <a:pt x="1035" y="478"/>
                    <a:pt x="1042" y="479"/>
                  </a:cubicBezTo>
                  <a:cubicBezTo>
                    <a:pt x="1029" y="320"/>
                    <a:pt x="945" y="181"/>
                    <a:pt x="821" y="94"/>
                  </a:cubicBezTo>
                  <a:cubicBezTo>
                    <a:pt x="817" y="108"/>
                    <a:pt x="809" y="122"/>
                    <a:pt x="800" y="133"/>
                  </a:cubicBezTo>
                  <a:close/>
                  <a:moveTo>
                    <a:pt x="728" y="165"/>
                  </a:moveTo>
                  <a:cubicBezTo>
                    <a:pt x="714" y="165"/>
                    <a:pt x="700" y="162"/>
                    <a:pt x="688" y="156"/>
                  </a:cubicBezTo>
                  <a:cubicBezTo>
                    <a:pt x="639" y="403"/>
                    <a:pt x="639" y="403"/>
                    <a:pt x="639" y="403"/>
                  </a:cubicBezTo>
                  <a:cubicBezTo>
                    <a:pt x="640" y="403"/>
                    <a:pt x="641" y="403"/>
                    <a:pt x="642" y="403"/>
                  </a:cubicBezTo>
                  <a:cubicBezTo>
                    <a:pt x="657" y="403"/>
                    <a:pt x="670" y="406"/>
                    <a:pt x="682" y="411"/>
                  </a:cubicBezTo>
                  <a:cubicBezTo>
                    <a:pt x="731" y="165"/>
                    <a:pt x="731" y="165"/>
                    <a:pt x="731" y="165"/>
                  </a:cubicBezTo>
                  <a:cubicBezTo>
                    <a:pt x="730" y="165"/>
                    <a:pt x="729" y="165"/>
                    <a:pt x="728" y="165"/>
                  </a:cubicBezTo>
                  <a:close/>
                  <a:moveTo>
                    <a:pt x="357" y="277"/>
                  </a:moveTo>
                  <a:cubicBezTo>
                    <a:pt x="654" y="130"/>
                    <a:pt x="654" y="130"/>
                    <a:pt x="654" y="130"/>
                  </a:cubicBezTo>
                  <a:cubicBezTo>
                    <a:pt x="645" y="119"/>
                    <a:pt x="638" y="105"/>
                    <a:pt x="635" y="90"/>
                  </a:cubicBezTo>
                  <a:cubicBezTo>
                    <a:pt x="338" y="237"/>
                    <a:pt x="338" y="237"/>
                    <a:pt x="338" y="237"/>
                  </a:cubicBezTo>
                  <a:cubicBezTo>
                    <a:pt x="347" y="248"/>
                    <a:pt x="354" y="262"/>
                    <a:pt x="357" y="277"/>
                  </a:cubicBezTo>
                  <a:close/>
                  <a:moveTo>
                    <a:pt x="135" y="664"/>
                  </a:moveTo>
                  <a:cubicBezTo>
                    <a:pt x="248" y="393"/>
                    <a:pt x="248" y="393"/>
                    <a:pt x="248" y="393"/>
                  </a:cubicBezTo>
                  <a:cubicBezTo>
                    <a:pt x="233" y="391"/>
                    <a:pt x="219" y="385"/>
                    <a:pt x="207" y="376"/>
                  </a:cubicBezTo>
                  <a:cubicBezTo>
                    <a:pt x="94" y="647"/>
                    <a:pt x="94" y="647"/>
                    <a:pt x="94" y="647"/>
                  </a:cubicBezTo>
                  <a:cubicBezTo>
                    <a:pt x="109" y="650"/>
                    <a:pt x="123" y="656"/>
                    <a:pt x="135" y="664"/>
                  </a:cubicBezTo>
                  <a:close/>
                  <a:moveTo>
                    <a:pt x="1022" y="669"/>
                  </a:moveTo>
                  <a:cubicBezTo>
                    <a:pt x="1006" y="669"/>
                    <a:pt x="992" y="665"/>
                    <a:pt x="979" y="659"/>
                  </a:cubicBezTo>
                  <a:cubicBezTo>
                    <a:pt x="960" y="722"/>
                    <a:pt x="928" y="782"/>
                    <a:pt x="884" y="833"/>
                  </a:cubicBezTo>
                  <a:cubicBezTo>
                    <a:pt x="875" y="841"/>
                    <a:pt x="812" y="903"/>
                    <a:pt x="772" y="988"/>
                  </a:cubicBezTo>
                  <a:cubicBezTo>
                    <a:pt x="787" y="988"/>
                    <a:pt x="802" y="992"/>
                    <a:pt x="815" y="999"/>
                  </a:cubicBezTo>
                  <a:cubicBezTo>
                    <a:pt x="855" y="921"/>
                    <a:pt x="914" y="865"/>
                    <a:pt x="915" y="864"/>
                  </a:cubicBezTo>
                  <a:cubicBezTo>
                    <a:pt x="917" y="862"/>
                    <a:pt x="917" y="862"/>
                    <a:pt x="917" y="862"/>
                  </a:cubicBezTo>
                  <a:cubicBezTo>
                    <a:pt x="966" y="806"/>
                    <a:pt x="1001" y="740"/>
                    <a:pt x="1022" y="669"/>
                  </a:cubicBezTo>
                  <a:cubicBezTo>
                    <a:pt x="1022" y="669"/>
                    <a:pt x="1022" y="669"/>
                    <a:pt x="1022" y="669"/>
                  </a:cubicBezTo>
                  <a:close/>
                  <a:moveTo>
                    <a:pt x="548" y="516"/>
                  </a:moveTo>
                  <a:cubicBezTo>
                    <a:pt x="156" y="685"/>
                    <a:pt x="156" y="685"/>
                    <a:pt x="156" y="685"/>
                  </a:cubicBezTo>
                  <a:cubicBezTo>
                    <a:pt x="164" y="696"/>
                    <a:pt x="171" y="710"/>
                    <a:pt x="173" y="725"/>
                  </a:cubicBezTo>
                  <a:cubicBezTo>
                    <a:pt x="565" y="556"/>
                    <a:pt x="565" y="556"/>
                    <a:pt x="565" y="556"/>
                  </a:cubicBezTo>
                  <a:cubicBezTo>
                    <a:pt x="557" y="544"/>
                    <a:pt x="551" y="531"/>
                    <a:pt x="548" y="516"/>
                  </a:cubicBezTo>
                  <a:close/>
                  <a:moveTo>
                    <a:pt x="61" y="648"/>
                  </a:moveTo>
                  <a:cubicBezTo>
                    <a:pt x="50" y="607"/>
                    <a:pt x="44" y="564"/>
                    <a:pt x="44" y="521"/>
                  </a:cubicBezTo>
                  <a:cubicBezTo>
                    <a:pt x="44" y="258"/>
                    <a:pt x="259" y="44"/>
                    <a:pt x="522" y="44"/>
                  </a:cubicBezTo>
                  <a:cubicBezTo>
                    <a:pt x="560" y="44"/>
                    <a:pt x="597" y="48"/>
                    <a:pt x="633" y="57"/>
                  </a:cubicBezTo>
                  <a:cubicBezTo>
                    <a:pt x="635" y="41"/>
                    <a:pt x="640" y="27"/>
                    <a:pt x="649" y="15"/>
                  </a:cubicBezTo>
                  <a:cubicBezTo>
                    <a:pt x="608" y="5"/>
                    <a:pt x="566" y="0"/>
                    <a:pt x="522" y="0"/>
                  </a:cubicBezTo>
                  <a:cubicBezTo>
                    <a:pt x="234" y="0"/>
                    <a:pt x="0" y="234"/>
                    <a:pt x="0" y="521"/>
                  </a:cubicBezTo>
                  <a:cubicBezTo>
                    <a:pt x="0" y="570"/>
                    <a:pt x="7" y="619"/>
                    <a:pt x="21" y="665"/>
                  </a:cubicBezTo>
                  <a:cubicBezTo>
                    <a:pt x="33" y="657"/>
                    <a:pt x="46" y="650"/>
                    <a:pt x="61" y="648"/>
                  </a:cubicBezTo>
                  <a:close/>
                  <a:moveTo>
                    <a:pt x="781" y="1262"/>
                  </a:moveTo>
                  <a:cubicBezTo>
                    <a:pt x="781" y="1179"/>
                    <a:pt x="781" y="1179"/>
                    <a:pt x="781" y="1179"/>
                  </a:cubicBezTo>
                  <a:cubicBezTo>
                    <a:pt x="777" y="1180"/>
                    <a:pt x="774" y="1180"/>
                    <a:pt x="770" y="1180"/>
                  </a:cubicBezTo>
                  <a:cubicBezTo>
                    <a:pt x="758" y="1180"/>
                    <a:pt x="747" y="1178"/>
                    <a:pt x="737" y="1174"/>
                  </a:cubicBezTo>
                  <a:cubicBezTo>
                    <a:pt x="737" y="1262"/>
                    <a:pt x="737" y="1262"/>
                    <a:pt x="737" y="1262"/>
                  </a:cubicBezTo>
                  <a:lnTo>
                    <a:pt x="781" y="1262"/>
                  </a:lnTo>
                  <a:close/>
                  <a:moveTo>
                    <a:pt x="263" y="1262"/>
                  </a:moveTo>
                  <a:cubicBezTo>
                    <a:pt x="307" y="1262"/>
                    <a:pt x="307" y="1262"/>
                    <a:pt x="307" y="1262"/>
                  </a:cubicBezTo>
                  <a:cubicBezTo>
                    <a:pt x="307" y="1130"/>
                    <a:pt x="307" y="1130"/>
                    <a:pt x="307" y="1130"/>
                  </a:cubicBezTo>
                  <a:cubicBezTo>
                    <a:pt x="307" y="976"/>
                    <a:pt x="174" y="846"/>
                    <a:pt x="160" y="833"/>
                  </a:cubicBezTo>
                  <a:cubicBezTo>
                    <a:pt x="154" y="826"/>
                    <a:pt x="149" y="819"/>
                    <a:pt x="144" y="813"/>
                  </a:cubicBezTo>
                  <a:cubicBezTo>
                    <a:pt x="133" y="823"/>
                    <a:pt x="120" y="830"/>
                    <a:pt x="105" y="834"/>
                  </a:cubicBezTo>
                  <a:cubicBezTo>
                    <a:pt x="112" y="844"/>
                    <a:pt x="120" y="853"/>
                    <a:pt x="128" y="862"/>
                  </a:cubicBezTo>
                  <a:cubicBezTo>
                    <a:pt x="129" y="864"/>
                    <a:pt x="129" y="864"/>
                    <a:pt x="129" y="864"/>
                  </a:cubicBezTo>
                  <a:cubicBezTo>
                    <a:pt x="131" y="865"/>
                    <a:pt x="263" y="991"/>
                    <a:pt x="263" y="1130"/>
                  </a:cubicBezTo>
                  <a:lnTo>
                    <a:pt x="263" y="126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1396B729-10F1-A165-DD05-3851EA22FA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1" y="532"/>
              <a:ext cx="1961" cy="3276"/>
            </a:xfrm>
            <a:custGeom>
              <a:avLst/>
              <a:gdLst>
                <a:gd name="T0" fmla="*/ 0 w 1047"/>
                <a:gd name="T1" fmla="*/ 725 h 1747"/>
                <a:gd name="T2" fmla="*/ 104 w 1047"/>
                <a:gd name="T3" fmla="*/ 725 h 1747"/>
                <a:gd name="T4" fmla="*/ 701 w 1047"/>
                <a:gd name="T5" fmla="*/ 0 h 1747"/>
                <a:gd name="T6" fmla="*/ 701 w 1047"/>
                <a:gd name="T7" fmla="*/ 104 h 1747"/>
                <a:gd name="T8" fmla="*/ 701 w 1047"/>
                <a:gd name="T9" fmla="*/ 0 h 1747"/>
                <a:gd name="T10" fmla="*/ 943 w 1047"/>
                <a:gd name="T11" fmla="*/ 556 h 1747"/>
                <a:gd name="T12" fmla="*/ 1047 w 1047"/>
                <a:gd name="T13" fmla="*/ 556 h 1747"/>
                <a:gd name="T14" fmla="*/ 237 w 1047"/>
                <a:gd name="T15" fmla="*/ 229 h 1747"/>
                <a:gd name="T16" fmla="*/ 237 w 1047"/>
                <a:gd name="T17" fmla="*/ 333 h 1747"/>
                <a:gd name="T18" fmla="*/ 237 w 1047"/>
                <a:gd name="T19" fmla="*/ 229 h 1747"/>
                <a:gd name="T20" fmla="*/ 357 w 1047"/>
                <a:gd name="T21" fmla="*/ 867 h 1747"/>
                <a:gd name="T22" fmla="*/ 461 w 1047"/>
                <a:gd name="T23" fmla="*/ 867 h 1747"/>
                <a:gd name="T24" fmla="*/ 743 w 1047"/>
                <a:gd name="T25" fmla="*/ 1015 h 1747"/>
                <a:gd name="T26" fmla="*/ 743 w 1047"/>
                <a:gd name="T27" fmla="*/ 1119 h 1747"/>
                <a:gd name="T28" fmla="*/ 743 w 1047"/>
                <a:gd name="T29" fmla="*/ 1015 h 1747"/>
                <a:gd name="T30" fmla="*/ 563 w 1047"/>
                <a:gd name="T31" fmla="*/ 482 h 1747"/>
                <a:gd name="T32" fmla="*/ 667 w 1047"/>
                <a:gd name="T33" fmla="*/ 482 h 1747"/>
                <a:gd name="T34" fmla="*/ 820 w 1047"/>
                <a:gd name="T35" fmla="*/ 1288 h 1747"/>
                <a:gd name="T36" fmla="*/ 216 w 1047"/>
                <a:gd name="T37" fmla="*/ 1245 h 1747"/>
                <a:gd name="T38" fmla="*/ 173 w 1047"/>
                <a:gd name="T39" fmla="*/ 1376 h 1747"/>
                <a:gd name="T40" fmla="*/ 173 w 1047"/>
                <a:gd name="T41" fmla="*/ 1418 h 1747"/>
                <a:gd name="T42" fmla="*/ 179 w 1047"/>
                <a:gd name="T43" fmla="*/ 1507 h 1747"/>
                <a:gd name="T44" fmla="*/ 173 w 1047"/>
                <a:gd name="T45" fmla="*/ 1599 h 1747"/>
                <a:gd name="T46" fmla="*/ 267 w 1047"/>
                <a:gd name="T47" fmla="*/ 1642 h 1747"/>
                <a:gd name="T48" fmla="*/ 280 w 1047"/>
                <a:gd name="T49" fmla="*/ 1701 h 1747"/>
                <a:gd name="T50" fmla="*/ 520 w 1047"/>
                <a:gd name="T51" fmla="*/ 1741 h 1747"/>
                <a:gd name="T52" fmla="*/ 723 w 1047"/>
                <a:gd name="T53" fmla="*/ 1681 h 1747"/>
                <a:gd name="T54" fmla="*/ 777 w 1047"/>
                <a:gd name="T55" fmla="*/ 1642 h 1747"/>
                <a:gd name="T56" fmla="*/ 820 w 1047"/>
                <a:gd name="T57" fmla="*/ 1528 h 1747"/>
                <a:gd name="T58" fmla="*/ 820 w 1047"/>
                <a:gd name="T59" fmla="*/ 1486 h 1747"/>
                <a:gd name="T60" fmla="*/ 815 w 1047"/>
                <a:gd name="T61" fmla="*/ 1397 h 1747"/>
                <a:gd name="T62" fmla="*/ 820 w 1047"/>
                <a:gd name="T63" fmla="*/ 1288 h 1747"/>
                <a:gd name="T64" fmla="*/ 369 w 1047"/>
                <a:gd name="T65" fmla="*/ 1419 h 1747"/>
                <a:gd name="T66" fmla="*/ 373 w 1047"/>
                <a:gd name="T67" fmla="*/ 1485 h 1747"/>
                <a:gd name="T68" fmla="*/ 217 w 1047"/>
                <a:gd name="T69" fmla="*/ 1419 h 1747"/>
                <a:gd name="T70" fmla="*/ 497 w 1047"/>
                <a:gd name="T71" fmla="*/ 1696 h 1747"/>
                <a:gd name="T72" fmla="*/ 311 w 1047"/>
                <a:gd name="T73" fmla="*/ 1667 h 1747"/>
                <a:gd name="T74" fmla="*/ 679 w 1047"/>
                <a:gd name="T75" fmla="*/ 1642 h 1747"/>
                <a:gd name="T76" fmla="*/ 776 w 1047"/>
                <a:gd name="T77" fmla="*/ 1598 h 1747"/>
                <a:gd name="T78" fmla="*/ 217 w 1047"/>
                <a:gd name="T79" fmla="*/ 1529 h 1747"/>
                <a:gd name="T80" fmla="*/ 497 w 1047"/>
                <a:gd name="T81" fmla="*/ 1574 h 1747"/>
                <a:gd name="T82" fmla="*/ 776 w 1047"/>
                <a:gd name="T83" fmla="*/ 1529 h 1747"/>
                <a:gd name="T84" fmla="*/ 543 w 1047"/>
                <a:gd name="T85" fmla="*/ 1412 h 1747"/>
                <a:gd name="T86" fmla="*/ 544 w 1047"/>
                <a:gd name="T87" fmla="*/ 1412 h 1747"/>
                <a:gd name="T88" fmla="*/ 549 w 1047"/>
                <a:gd name="T89" fmla="*/ 1416 h 1747"/>
                <a:gd name="T90" fmla="*/ 483 w 1047"/>
                <a:gd name="T91" fmla="*/ 1539 h 1747"/>
                <a:gd name="T92" fmla="*/ 477 w 1047"/>
                <a:gd name="T93" fmla="*/ 1541 h 1747"/>
                <a:gd name="T94" fmla="*/ 486 w 1047"/>
                <a:gd name="T95" fmla="*/ 1467 h 1747"/>
                <a:gd name="T96" fmla="*/ 449 w 1047"/>
                <a:gd name="T97" fmla="*/ 1476 h 1747"/>
                <a:gd name="T98" fmla="*/ 445 w 1047"/>
                <a:gd name="T99" fmla="*/ 1470 h 1747"/>
                <a:gd name="T100" fmla="*/ 514 w 1047"/>
                <a:gd name="T101" fmla="*/ 1347 h 1747"/>
                <a:gd name="T102" fmla="*/ 519 w 1047"/>
                <a:gd name="T103" fmla="*/ 1352 h 1747"/>
                <a:gd name="T104" fmla="*/ 543 w 1047"/>
                <a:gd name="T105" fmla="*/ 1412 h 1747"/>
                <a:gd name="T106" fmla="*/ 620 w 1047"/>
                <a:gd name="T107" fmla="*/ 1485 h 1747"/>
                <a:gd name="T108" fmla="*/ 624 w 1047"/>
                <a:gd name="T109" fmla="*/ 1419 h 1747"/>
                <a:gd name="T110" fmla="*/ 776 w 1047"/>
                <a:gd name="T111" fmla="*/ 1485 h 1747"/>
                <a:gd name="T112" fmla="*/ 606 w 1047"/>
                <a:gd name="T113" fmla="*/ 1375 h 1747"/>
                <a:gd name="T114" fmla="*/ 387 w 1047"/>
                <a:gd name="T115" fmla="*/ 1375 h 1747"/>
                <a:gd name="T116" fmla="*/ 217 w 1047"/>
                <a:gd name="T117" fmla="*/ 1289 h 1747"/>
                <a:gd name="T118" fmla="*/ 776 w 1047"/>
                <a:gd name="T119" fmla="*/ 1375 h 1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47" h="1747">
                  <a:moveTo>
                    <a:pt x="52" y="673"/>
                  </a:moveTo>
                  <a:cubicBezTo>
                    <a:pt x="23" y="673"/>
                    <a:pt x="0" y="696"/>
                    <a:pt x="0" y="725"/>
                  </a:cubicBezTo>
                  <a:cubicBezTo>
                    <a:pt x="0" y="754"/>
                    <a:pt x="23" y="777"/>
                    <a:pt x="52" y="777"/>
                  </a:cubicBezTo>
                  <a:cubicBezTo>
                    <a:pt x="80" y="777"/>
                    <a:pt x="104" y="754"/>
                    <a:pt x="104" y="725"/>
                  </a:cubicBezTo>
                  <a:cubicBezTo>
                    <a:pt x="104" y="696"/>
                    <a:pt x="80" y="673"/>
                    <a:pt x="52" y="673"/>
                  </a:cubicBezTo>
                  <a:close/>
                  <a:moveTo>
                    <a:pt x="701" y="0"/>
                  </a:moveTo>
                  <a:cubicBezTo>
                    <a:pt x="673" y="0"/>
                    <a:pt x="649" y="23"/>
                    <a:pt x="649" y="52"/>
                  </a:cubicBezTo>
                  <a:cubicBezTo>
                    <a:pt x="649" y="80"/>
                    <a:pt x="673" y="104"/>
                    <a:pt x="701" y="104"/>
                  </a:cubicBezTo>
                  <a:cubicBezTo>
                    <a:pt x="730" y="104"/>
                    <a:pt x="753" y="80"/>
                    <a:pt x="753" y="52"/>
                  </a:cubicBezTo>
                  <a:cubicBezTo>
                    <a:pt x="753" y="23"/>
                    <a:pt x="730" y="0"/>
                    <a:pt x="701" y="0"/>
                  </a:cubicBezTo>
                  <a:close/>
                  <a:moveTo>
                    <a:pt x="995" y="504"/>
                  </a:moveTo>
                  <a:cubicBezTo>
                    <a:pt x="966" y="504"/>
                    <a:pt x="943" y="527"/>
                    <a:pt x="943" y="556"/>
                  </a:cubicBezTo>
                  <a:cubicBezTo>
                    <a:pt x="943" y="584"/>
                    <a:pt x="966" y="608"/>
                    <a:pt x="995" y="608"/>
                  </a:cubicBezTo>
                  <a:cubicBezTo>
                    <a:pt x="1023" y="608"/>
                    <a:pt x="1047" y="584"/>
                    <a:pt x="1047" y="556"/>
                  </a:cubicBezTo>
                  <a:cubicBezTo>
                    <a:pt x="1047" y="527"/>
                    <a:pt x="1023" y="504"/>
                    <a:pt x="995" y="504"/>
                  </a:cubicBezTo>
                  <a:close/>
                  <a:moveTo>
                    <a:pt x="237" y="229"/>
                  </a:moveTo>
                  <a:cubicBezTo>
                    <a:pt x="208" y="229"/>
                    <a:pt x="185" y="253"/>
                    <a:pt x="185" y="281"/>
                  </a:cubicBezTo>
                  <a:cubicBezTo>
                    <a:pt x="185" y="310"/>
                    <a:pt x="208" y="333"/>
                    <a:pt x="237" y="333"/>
                  </a:cubicBezTo>
                  <a:cubicBezTo>
                    <a:pt x="265" y="333"/>
                    <a:pt x="289" y="310"/>
                    <a:pt x="289" y="281"/>
                  </a:cubicBezTo>
                  <a:cubicBezTo>
                    <a:pt x="289" y="253"/>
                    <a:pt x="265" y="229"/>
                    <a:pt x="237" y="229"/>
                  </a:cubicBezTo>
                  <a:close/>
                  <a:moveTo>
                    <a:pt x="409" y="815"/>
                  </a:moveTo>
                  <a:cubicBezTo>
                    <a:pt x="381" y="815"/>
                    <a:pt x="357" y="838"/>
                    <a:pt x="357" y="867"/>
                  </a:cubicBezTo>
                  <a:cubicBezTo>
                    <a:pt x="357" y="896"/>
                    <a:pt x="381" y="919"/>
                    <a:pt x="409" y="919"/>
                  </a:cubicBezTo>
                  <a:cubicBezTo>
                    <a:pt x="438" y="919"/>
                    <a:pt x="461" y="896"/>
                    <a:pt x="461" y="867"/>
                  </a:cubicBezTo>
                  <a:cubicBezTo>
                    <a:pt x="461" y="838"/>
                    <a:pt x="438" y="815"/>
                    <a:pt x="409" y="815"/>
                  </a:cubicBezTo>
                  <a:close/>
                  <a:moveTo>
                    <a:pt x="743" y="1015"/>
                  </a:moveTo>
                  <a:cubicBezTo>
                    <a:pt x="715" y="1015"/>
                    <a:pt x="691" y="1038"/>
                    <a:pt x="691" y="1067"/>
                  </a:cubicBezTo>
                  <a:cubicBezTo>
                    <a:pt x="691" y="1096"/>
                    <a:pt x="715" y="1119"/>
                    <a:pt x="743" y="1119"/>
                  </a:cubicBezTo>
                  <a:cubicBezTo>
                    <a:pt x="772" y="1119"/>
                    <a:pt x="795" y="1096"/>
                    <a:pt x="795" y="1067"/>
                  </a:cubicBezTo>
                  <a:cubicBezTo>
                    <a:pt x="795" y="1038"/>
                    <a:pt x="772" y="1015"/>
                    <a:pt x="743" y="1015"/>
                  </a:cubicBezTo>
                  <a:close/>
                  <a:moveTo>
                    <a:pt x="615" y="430"/>
                  </a:moveTo>
                  <a:cubicBezTo>
                    <a:pt x="587" y="430"/>
                    <a:pt x="563" y="453"/>
                    <a:pt x="563" y="482"/>
                  </a:cubicBezTo>
                  <a:cubicBezTo>
                    <a:pt x="563" y="510"/>
                    <a:pt x="587" y="534"/>
                    <a:pt x="615" y="534"/>
                  </a:cubicBezTo>
                  <a:cubicBezTo>
                    <a:pt x="644" y="534"/>
                    <a:pt x="667" y="510"/>
                    <a:pt x="667" y="482"/>
                  </a:cubicBezTo>
                  <a:cubicBezTo>
                    <a:pt x="667" y="453"/>
                    <a:pt x="644" y="430"/>
                    <a:pt x="615" y="430"/>
                  </a:cubicBezTo>
                  <a:close/>
                  <a:moveTo>
                    <a:pt x="820" y="1288"/>
                  </a:moveTo>
                  <a:cubicBezTo>
                    <a:pt x="820" y="1264"/>
                    <a:pt x="801" y="1245"/>
                    <a:pt x="777" y="1245"/>
                  </a:cubicBezTo>
                  <a:cubicBezTo>
                    <a:pt x="216" y="1245"/>
                    <a:pt x="216" y="1245"/>
                    <a:pt x="216" y="1245"/>
                  </a:cubicBezTo>
                  <a:cubicBezTo>
                    <a:pt x="192" y="1245"/>
                    <a:pt x="173" y="1264"/>
                    <a:pt x="173" y="1288"/>
                  </a:cubicBezTo>
                  <a:cubicBezTo>
                    <a:pt x="173" y="1376"/>
                    <a:pt x="173" y="1376"/>
                    <a:pt x="173" y="1376"/>
                  </a:cubicBezTo>
                  <a:cubicBezTo>
                    <a:pt x="173" y="1384"/>
                    <a:pt x="175" y="1391"/>
                    <a:pt x="179" y="1397"/>
                  </a:cubicBezTo>
                  <a:cubicBezTo>
                    <a:pt x="175" y="1403"/>
                    <a:pt x="173" y="1410"/>
                    <a:pt x="173" y="1418"/>
                  </a:cubicBezTo>
                  <a:cubicBezTo>
                    <a:pt x="173" y="1486"/>
                    <a:pt x="173" y="1486"/>
                    <a:pt x="173" y="1486"/>
                  </a:cubicBezTo>
                  <a:cubicBezTo>
                    <a:pt x="173" y="1493"/>
                    <a:pt x="175" y="1500"/>
                    <a:pt x="179" y="1507"/>
                  </a:cubicBezTo>
                  <a:cubicBezTo>
                    <a:pt x="175" y="1513"/>
                    <a:pt x="173" y="1520"/>
                    <a:pt x="173" y="1528"/>
                  </a:cubicBezTo>
                  <a:cubicBezTo>
                    <a:pt x="173" y="1599"/>
                    <a:pt x="173" y="1599"/>
                    <a:pt x="173" y="1599"/>
                  </a:cubicBezTo>
                  <a:cubicBezTo>
                    <a:pt x="173" y="1623"/>
                    <a:pt x="192" y="1642"/>
                    <a:pt x="216" y="1642"/>
                  </a:cubicBezTo>
                  <a:cubicBezTo>
                    <a:pt x="267" y="1642"/>
                    <a:pt x="267" y="1642"/>
                    <a:pt x="267" y="1642"/>
                  </a:cubicBezTo>
                  <a:cubicBezTo>
                    <a:pt x="267" y="1681"/>
                    <a:pt x="267" y="1681"/>
                    <a:pt x="267" y="1681"/>
                  </a:cubicBezTo>
                  <a:cubicBezTo>
                    <a:pt x="267" y="1690"/>
                    <a:pt x="272" y="1698"/>
                    <a:pt x="280" y="1701"/>
                  </a:cubicBezTo>
                  <a:cubicBezTo>
                    <a:pt x="383" y="1747"/>
                    <a:pt x="479" y="1741"/>
                    <a:pt x="495" y="1740"/>
                  </a:cubicBezTo>
                  <a:cubicBezTo>
                    <a:pt x="499" y="1741"/>
                    <a:pt x="508" y="1741"/>
                    <a:pt x="520" y="1741"/>
                  </a:cubicBezTo>
                  <a:cubicBezTo>
                    <a:pt x="558" y="1741"/>
                    <a:pt x="632" y="1736"/>
                    <a:pt x="710" y="1701"/>
                  </a:cubicBezTo>
                  <a:cubicBezTo>
                    <a:pt x="718" y="1698"/>
                    <a:pt x="723" y="1690"/>
                    <a:pt x="723" y="1681"/>
                  </a:cubicBezTo>
                  <a:cubicBezTo>
                    <a:pt x="723" y="1642"/>
                    <a:pt x="723" y="1642"/>
                    <a:pt x="723" y="1642"/>
                  </a:cubicBezTo>
                  <a:cubicBezTo>
                    <a:pt x="777" y="1642"/>
                    <a:pt x="777" y="1642"/>
                    <a:pt x="777" y="1642"/>
                  </a:cubicBezTo>
                  <a:cubicBezTo>
                    <a:pt x="801" y="1642"/>
                    <a:pt x="820" y="1623"/>
                    <a:pt x="820" y="1599"/>
                  </a:cubicBezTo>
                  <a:cubicBezTo>
                    <a:pt x="820" y="1528"/>
                    <a:pt x="820" y="1528"/>
                    <a:pt x="820" y="1528"/>
                  </a:cubicBezTo>
                  <a:cubicBezTo>
                    <a:pt x="820" y="1520"/>
                    <a:pt x="818" y="1513"/>
                    <a:pt x="815" y="1507"/>
                  </a:cubicBezTo>
                  <a:cubicBezTo>
                    <a:pt x="818" y="1500"/>
                    <a:pt x="820" y="1493"/>
                    <a:pt x="820" y="1486"/>
                  </a:cubicBezTo>
                  <a:cubicBezTo>
                    <a:pt x="820" y="1418"/>
                    <a:pt x="820" y="1418"/>
                    <a:pt x="820" y="1418"/>
                  </a:cubicBezTo>
                  <a:cubicBezTo>
                    <a:pt x="820" y="1410"/>
                    <a:pt x="818" y="1403"/>
                    <a:pt x="815" y="1397"/>
                  </a:cubicBezTo>
                  <a:cubicBezTo>
                    <a:pt x="818" y="1391"/>
                    <a:pt x="820" y="1384"/>
                    <a:pt x="820" y="1376"/>
                  </a:cubicBezTo>
                  <a:lnTo>
                    <a:pt x="820" y="1288"/>
                  </a:lnTo>
                  <a:close/>
                  <a:moveTo>
                    <a:pt x="217" y="1419"/>
                  </a:moveTo>
                  <a:cubicBezTo>
                    <a:pt x="369" y="1419"/>
                    <a:pt x="369" y="1419"/>
                    <a:pt x="369" y="1419"/>
                  </a:cubicBezTo>
                  <a:cubicBezTo>
                    <a:pt x="368" y="1427"/>
                    <a:pt x="367" y="1436"/>
                    <a:pt x="367" y="1444"/>
                  </a:cubicBezTo>
                  <a:cubicBezTo>
                    <a:pt x="367" y="1458"/>
                    <a:pt x="369" y="1472"/>
                    <a:pt x="373" y="1485"/>
                  </a:cubicBezTo>
                  <a:cubicBezTo>
                    <a:pt x="217" y="1485"/>
                    <a:pt x="217" y="1485"/>
                    <a:pt x="217" y="1485"/>
                  </a:cubicBezTo>
                  <a:lnTo>
                    <a:pt x="217" y="1419"/>
                  </a:lnTo>
                  <a:close/>
                  <a:moveTo>
                    <a:pt x="679" y="1667"/>
                  </a:moveTo>
                  <a:cubicBezTo>
                    <a:pt x="584" y="1704"/>
                    <a:pt x="498" y="1696"/>
                    <a:pt x="497" y="1696"/>
                  </a:cubicBezTo>
                  <a:cubicBezTo>
                    <a:pt x="496" y="1696"/>
                    <a:pt x="494" y="1696"/>
                    <a:pt x="493" y="1696"/>
                  </a:cubicBezTo>
                  <a:cubicBezTo>
                    <a:pt x="492" y="1696"/>
                    <a:pt x="406" y="1704"/>
                    <a:pt x="311" y="1667"/>
                  </a:cubicBezTo>
                  <a:cubicBezTo>
                    <a:pt x="311" y="1642"/>
                    <a:pt x="311" y="1642"/>
                    <a:pt x="311" y="1642"/>
                  </a:cubicBezTo>
                  <a:cubicBezTo>
                    <a:pt x="679" y="1642"/>
                    <a:pt x="679" y="1642"/>
                    <a:pt x="679" y="1642"/>
                  </a:cubicBezTo>
                  <a:lnTo>
                    <a:pt x="679" y="1667"/>
                  </a:lnTo>
                  <a:close/>
                  <a:moveTo>
                    <a:pt x="776" y="1598"/>
                  </a:moveTo>
                  <a:cubicBezTo>
                    <a:pt x="217" y="1598"/>
                    <a:pt x="217" y="1598"/>
                    <a:pt x="217" y="1598"/>
                  </a:cubicBezTo>
                  <a:cubicBezTo>
                    <a:pt x="217" y="1529"/>
                    <a:pt x="217" y="1529"/>
                    <a:pt x="217" y="1529"/>
                  </a:cubicBezTo>
                  <a:cubicBezTo>
                    <a:pt x="398" y="1529"/>
                    <a:pt x="398" y="1529"/>
                    <a:pt x="398" y="1529"/>
                  </a:cubicBezTo>
                  <a:cubicBezTo>
                    <a:pt x="422" y="1556"/>
                    <a:pt x="457" y="1574"/>
                    <a:pt x="497" y="1574"/>
                  </a:cubicBezTo>
                  <a:cubicBezTo>
                    <a:pt x="536" y="1574"/>
                    <a:pt x="571" y="1556"/>
                    <a:pt x="595" y="1529"/>
                  </a:cubicBezTo>
                  <a:cubicBezTo>
                    <a:pt x="776" y="1529"/>
                    <a:pt x="776" y="1529"/>
                    <a:pt x="776" y="1529"/>
                  </a:cubicBezTo>
                  <a:lnTo>
                    <a:pt x="776" y="1598"/>
                  </a:lnTo>
                  <a:close/>
                  <a:moveTo>
                    <a:pt x="543" y="1412"/>
                  </a:moveTo>
                  <a:cubicBezTo>
                    <a:pt x="543" y="1412"/>
                    <a:pt x="544" y="1412"/>
                    <a:pt x="544" y="1412"/>
                  </a:cubicBezTo>
                  <a:cubicBezTo>
                    <a:pt x="544" y="1412"/>
                    <a:pt x="544" y="1412"/>
                    <a:pt x="544" y="1412"/>
                  </a:cubicBezTo>
                  <a:cubicBezTo>
                    <a:pt x="544" y="1412"/>
                    <a:pt x="544" y="1412"/>
                    <a:pt x="544" y="1412"/>
                  </a:cubicBezTo>
                  <a:cubicBezTo>
                    <a:pt x="547" y="1412"/>
                    <a:pt x="549" y="1414"/>
                    <a:pt x="549" y="1416"/>
                  </a:cubicBezTo>
                  <a:cubicBezTo>
                    <a:pt x="549" y="1417"/>
                    <a:pt x="549" y="1418"/>
                    <a:pt x="548" y="1419"/>
                  </a:cubicBezTo>
                  <a:cubicBezTo>
                    <a:pt x="483" y="1539"/>
                    <a:pt x="483" y="1539"/>
                    <a:pt x="483" y="1539"/>
                  </a:cubicBezTo>
                  <a:cubicBezTo>
                    <a:pt x="482" y="1541"/>
                    <a:pt x="480" y="1542"/>
                    <a:pt x="479" y="1542"/>
                  </a:cubicBezTo>
                  <a:cubicBezTo>
                    <a:pt x="478" y="1542"/>
                    <a:pt x="478" y="1541"/>
                    <a:pt x="477" y="1541"/>
                  </a:cubicBezTo>
                  <a:cubicBezTo>
                    <a:pt x="475" y="1541"/>
                    <a:pt x="474" y="1538"/>
                    <a:pt x="474" y="1536"/>
                  </a:cubicBezTo>
                  <a:cubicBezTo>
                    <a:pt x="486" y="1467"/>
                    <a:pt x="486" y="1467"/>
                    <a:pt x="486" y="1467"/>
                  </a:cubicBezTo>
                  <a:cubicBezTo>
                    <a:pt x="450" y="1476"/>
                    <a:pt x="450" y="1476"/>
                    <a:pt x="450" y="1476"/>
                  </a:cubicBezTo>
                  <a:cubicBezTo>
                    <a:pt x="450" y="1476"/>
                    <a:pt x="449" y="1476"/>
                    <a:pt x="449" y="1476"/>
                  </a:cubicBezTo>
                  <a:cubicBezTo>
                    <a:pt x="448" y="1476"/>
                    <a:pt x="446" y="1476"/>
                    <a:pt x="445" y="1475"/>
                  </a:cubicBezTo>
                  <a:cubicBezTo>
                    <a:pt x="444" y="1473"/>
                    <a:pt x="444" y="1471"/>
                    <a:pt x="445" y="1470"/>
                  </a:cubicBezTo>
                  <a:cubicBezTo>
                    <a:pt x="510" y="1349"/>
                    <a:pt x="510" y="1349"/>
                    <a:pt x="510" y="1349"/>
                  </a:cubicBezTo>
                  <a:cubicBezTo>
                    <a:pt x="511" y="1347"/>
                    <a:pt x="513" y="1347"/>
                    <a:pt x="514" y="1347"/>
                  </a:cubicBezTo>
                  <a:cubicBezTo>
                    <a:pt x="515" y="1347"/>
                    <a:pt x="515" y="1347"/>
                    <a:pt x="516" y="1347"/>
                  </a:cubicBezTo>
                  <a:cubicBezTo>
                    <a:pt x="518" y="1348"/>
                    <a:pt x="519" y="1350"/>
                    <a:pt x="519" y="1352"/>
                  </a:cubicBezTo>
                  <a:cubicBezTo>
                    <a:pt x="508" y="1422"/>
                    <a:pt x="508" y="1422"/>
                    <a:pt x="508" y="1422"/>
                  </a:cubicBezTo>
                  <a:lnTo>
                    <a:pt x="543" y="1412"/>
                  </a:lnTo>
                  <a:close/>
                  <a:moveTo>
                    <a:pt x="776" y="1485"/>
                  </a:moveTo>
                  <a:cubicBezTo>
                    <a:pt x="620" y="1485"/>
                    <a:pt x="620" y="1485"/>
                    <a:pt x="620" y="1485"/>
                  </a:cubicBezTo>
                  <a:cubicBezTo>
                    <a:pt x="624" y="1472"/>
                    <a:pt x="626" y="1458"/>
                    <a:pt x="626" y="1444"/>
                  </a:cubicBezTo>
                  <a:cubicBezTo>
                    <a:pt x="626" y="1436"/>
                    <a:pt x="625" y="1427"/>
                    <a:pt x="624" y="1419"/>
                  </a:cubicBezTo>
                  <a:cubicBezTo>
                    <a:pt x="776" y="1419"/>
                    <a:pt x="776" y="1419"/>
                    <a:pt x="776" y="1419"/>
                  </a:cubicBezTo>
                  <a:lnTo>
                    <a:pt x="776" y="1485"/>
                  </a:lnTo>
                  <a:close/>
                  <a:moveTo>
                    <a:pt x="776" y="1375"/>
                  </a:moveTo>
                  <a:cubicBezTo>
                    <a:pt x="606" y="1375"/>
                    <a:pt x="606" y="1375"/>
                    <a:pt x="606" y="1375"/>
                  </a:cubicBezTo>
                  <a:cubicBezTo>
                    <a:pt x="583" y="1339"/>
                    <a:pt x="543" y="1314"/>
                    <a:pt x="497" y="1314"/>
                  </a:cubicBezTo>
                  <a:cubicBezTo>
                    <a:pt x="450" y="1314"/>
                    <a:pt x="410" y="1339"/>
                    <a:pt x="387" y="1375"/>
                  </a:cubicBezTo>
                  <a:cubicBezTo>
                    <a:pt x="217" y="1375"/>
                    <a:pt x="217" y="1375"/>
                    <a:pt x="217" y="1375"/>
                  </a:cubicBezTo>
                  <a:cubicBezTo>
                    <a:pt x="217" y="1289"/>
                    <a:pt x="217" y="1289"/>
                    <a:pt x="217" y="1289"/>
                  </a:cubicBezTo>
                  <a:cubicBezTo>
                    <a:pt x="776" y="1289"/>
                    <a:pt x="776" y="1289"/>
                    <a:pt x="776" y="1289"/>
                  </a:cubicBezTo>
                  <a:lnTo>
                    <a:pt x="776" y="137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7" name="bcgIcons_MagnifyingGlassSearch">
            <a:extLst>
              <a:ext uri="{FF2B5EF4-FFF2-40B4-BE49-F238E27FC236}">
                <a16:creationId xmlns:a16="http://schemas.microsoft.com/office/drawing/2014/main" id="{B28E6844-21E8-E7A7-852F-8D4B2FF82E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07442" y="2281993"/>
            <a:ext cx="719334" cy="720000"/>
            <a:chOff x="1682" y="0"/>
            <a:chExt cx="4316" cy="4320"/>
          </a:xfrm>
        </p:grpSpPr>
        <p:sp>
          <p:nvSpPr>
            <p:cNvPr id="28" name="AutoShape 8">
              <a:extLst>
                <a:ext uri="{FF2B5EF4-FFF2-40B4-BE49-F238E27FC236}">
                  <a16:creationId xmlns:a16="http://schemas.microsoft.com/office/drawing/2014/main" id="{0780668F-D06A-EB0D-BC04-DE0FA41A3E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EEEA7077-3AD3-9752-9F73-C1C56569B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0" y="703"/>
              <a:ext cx="1821" cy="1802"/>
            </a:xfrm>
            <a:custGeom>
              <a:avLst/>
              <a:gdLst>
                <a:gd name="T0" fmla="*/ 748 w 972"/>
                <a:gd name="T1" fmla="*/ 142 h 961"/>
                <a:gd name="T2" fmla="*/ 145 w 972"/>
                <a:gd name="T3" fmla="*/ 223 h 961"/>
                <a:gd name="T4" fmla="*/ 225 w 972"/>
                <a:gd name="T5" fmla="*/ 818 h 961"/>
                <a:gd name="T6" fmla="*/ 827 w 972"/>
                <a:gd name="T7" fmla="*/ 738 h 961"/>
                <a:gd name="T8" fmla="*/ 748 w 972"/>
                <a:gd name="T9" fmla="*/ 142 h 961"/>
                <a:gd name="T10" fmla="*/ 777 w 972"/>
                <a:gd name="T11" fmla="*/ 700 h 961"/>
                <a:gd name="T12" fmla="*/ 701 w 972"/>
                <a:gd name="T13" fmla="*/ 774 h 961"/>
                <a:gd name="T14" fmla="*/ 688 w 972"/>
                <a:gd name="T15" fmla="*/ 778 h 961"/>
                <a:gd name="T16" fmla="*/ 670 w 972"/>
                <a:gd name="T17" fmla="*/ 769 h 961"/>
                <a:gd name="T18" fmla="*/ 675 w 972"/>
                <a:gd name="T19" fmla="*/ 738 h 961"/>
                <a:gd name="T20" fmla="*/ 742 w 972"/>
                <a:gd name="T21" fmla="*/ 673 h 961"/>
                <a:gd name="T22" fmla="*/ 806 w 972"/>
                <a:gd name="T23" fmla="*/ 438 h 961"/>
                <a:gd name="T24" fmla="*/ 683 w 972"/>
                <a:gd name="T25" fmla="*/ 227 h 961"/>
                <a:gd name="T26" fmla="*/ 641 w 972"/>
                <a:gd name="T27" fmla="*/ 200 h 961"/>
                <a:gd name="T28" fmla="*/ 632 w 972"/>
                <a:gd name="T29" fmla="*/ 170 h 961"/>
                <a:gd name="T30" fmla="*/ 661 w 972"/>
                <a:gd name="T31" fmla="*/ 161 h 961"/>
                <a:gd name="T32" fmla="*/ 709 w 972"/>
                <a:gd name="T33" fmla="*/ 192 h 961"/>
                <a:gd name="T34" fmla="*/ 850 w 972"/>
                <a:gd name="T35" fmla="*/ 432 h 961"/>
                <a:gd name="T36" fmla="*/ 777 w 972"/>
                <a:gd name="T37" fmla="*/ 700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2" h="961">
                  <a:moveTo>
                    <a:pt x="748" y="142"/>
                  </a:moveTo>
                  <a:cubicBezTo>
                    <a:pt x="560" y="0"/>
                    <a:pt x="290" y="36"/>
                    <a:pt x="145" y="223"/>
                  </a:cubicBezTo>
                  <a:cubicBezTo>
                    <a:pt x="0" y="409"/>
                    <a:pt x="35" y="676"/>
                    <a:pt x="225" y="818"/>
                  </a:cubicBezTo>
                  <a:cubicBezTo>
                    <a:pt x="413" y="961"/>
                    <a:pt x="683" y="925"/>
                    <a:pt x="827" y="738"/>
                  </a:cubicBezTo>
                  <a:cubicBezTo>
                    <a:pt x="972" y="551"/>
                    <a:pt x="936" y="285"/>
                    <a:pt x="748" y="142"/>
                  </a:cubicBezTo>
                  <a:close/>
                  <a:moveTo>
                    <a:pt x="777" y="700"/>
                  </a:moveTo>
                  <a:cubicBezTo>
                    <a:pt x="755" y="729"/>
                    <a:pt x="730" y="753"/>
                    <a:pt x="701" y="774"/>
                  </a:cubicBezTo>
                  <a:cubicBezTo>
                    <a:pt x="697" y="777"/>
                    <a:pt x="692" y="778"/>
                    <a:pt x="688" y="778"/>
                  </a:cubicBezTo>
                  <a:cubicBezTo>
                    <a:pt x="681" y="778"/>
                    <a:pt x="674" y="775"/>
                    <a:pt x="670" y="769"/>
                  </a:cubicBezTo>
                  <a:cubicBezTo>
                    <a:pt x="663" y="759"/>
                    <a:pt x="665" y="746"/>
                    <a:pt x="675" y="738"/>
                  </a:cubicBezTo>
                  <a:cubicBezTo>
                    <a:pt x="700" y="720"/>
                    <a:pt x="723" y="698"/>
                    <a:pt x="742" y="673"/>
                  </a:cubicBezTo>
                  <a:cubicBezTo>
                    <a:pt x="795" y="606"/>
                    <a:pt x="817" y="522"/>
                    <a:pt x="806" y="438"/>
                  </a:cubicBezTo>
                  <a:cubicBezTo>
                    <a:pt x="795" y="353"/>
                    <a:pt x="751" y="279"/>
                    <a:pt x="683" y="227"/>
                  </a:cubicBezTo>
                  <a:cubicBezTo>
                    <a:pt x="669" y="217"/>
                    <a:pt x="655" y="208"/>
                    <a:pt x="641" y="200"/>
                  </a:cubicBezTo>
                  <a:cubicBezTo>
                    <a:pt x="630" y="194"/>
                    <a:pt x="626" y="181"/>
                    <a:pt x="632" y="170"/>
                  </a:cubicBezTo>
                  <a:cubicBezTo>
                    <a:pt x="637" y="159"/>
                    <a:pt x="651" y="155"/>
                    <a:pt x="661" y="161"/>
                  </a:cubicBezTo>
                  <a:cubicBezTo>
                    <a:pt x="678" y="170"/>
                    <a:pt x="694" y="180"/>
                    <a:pt x="709" y="192"/>
                  </a:cubicBezTo>
                  <a:cubicBezTo>
                    <a:pt x="787" y="251"/>
                    <a:pt x="837" y="336"/>
                    <a:pt x="850" y="432"/>
                  </a:cubicBezTo>
                  <a:cubicBezTo>
                    <a:pt x="862" y="528"/>
                    <a:pt x="837" y="623"/>
                    <a:pt x="777" y="70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012C0C96-42DC-CC2C-E129-34475ECA3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" y="465"/>
              <a:ext cx="2904" cy="3306"/>
            </a:xfrm>
            <a:custGeom>
              <a:avLst/>
              <a:gdLst>
                <a:gd name="T0" fmla="*/ 1270 w 1550"/>
                <a:gd name="T1" fmla="*/ 179 h 1763"/>
                <a:gd name="T2" fmla="*/ 517 w 1550"/>
                <a:gd name="T3" fmla="*/ 280 h 1763"/>
                <a:gd name="T4" fmla="*/ 545 w 1550"/>
                <a:gd name="T5" fmla="*/ 965 h 1763"/>
                <a:gd name="T6" fmla="*/ 437 w 1550"/>
                <a:gd name="T7" fmla="*/ 1107 h 1763"/>
                <a:gd name="T8" fmla="*/ 587 w 1550"/>
                <a:gd name="T9" fmla="*/ 1222 h 1763"/>
                <a:gd name="T10" fmla="*/ 694 w 1550"/>
                <a:gd name="T11" fmla="*/ 1082 h 1763"/>
                <a:gd name="T12" fmla="*/ 1370 w 1550"/>
                <a:gd name="T13" fmla="*/ 933 h 1763"/>
                <a:gd name="T14" fmla="*/ 1270 w 1550"/>
                <a:gd name="T15" fmla="*/ 179 h 1763"/>
                <a:gd name="T16" fmla="*/ 1317 w 1550"/>
                <a:gd name="T17" fmla="*/ 892 h 1763"/>
                <a:gd name="T18" fmla="*/ 701 w 1550"/>
                <a:gd name="T19" fmla="*/ 1009 h 1763"/>
                <a:gd name="T20" fmla="*/ 658 w 1550"/>
                <a:gd name="T21" fmla="*/ 980 h 1763"/>
                <a:gd name="T22" fmla="*/ 614 w 1550"/>
                <a:gd name="T23" fmla="*/ 941 h 1763"/>
                <a:gd name="T24" fmla="*/ 570 w 1550"/>
                <a:gd name="T25" fmla="*/ 320 h 1763"/>
                <a:gd name="T26" fmla="*/ 1229 w 1550"/>
                <a:gd name="T27" fmla="*/ 233 h 1763"/>
                <a:gd name="T28" fmla="*/ 1317 w 1550"/>
                <a:gd name="T29" fmla="*/ 892 h 1763"/>
                <a:gd name="T30" fmla="*/ 181 w 1550"/>
                <a:gd name="T31" fmla="*/ 1763 h 1763"/>
                <a:gd name="T32" fmla="*/ 162 w 1550"/>
                <a:gd name="T33" fmla="*/ 1761 h 1763"/>
                <a:gd name="T34" fmla="*/ 83 w 1550"/>
                <a:gd name="T35" fmla="*/ 1724 h 1763"/>
                <a:gd name="T36" fmla="*/ 27 w 1550"/>
                <a:gd name="T37" fmla="*/ 1584 h 1763"/>
                <a:gd name="T38" fmla="*/ 367 w 1550"/>
                <a:gd name="T39" fmla="*/ 1136 h 1763"/>
                <a:gd name="T40" fmla="*/ 382 w 1550"/>
                <a:gd name="T41" fmla="*/ 1128 h 1763"/>
                <a:gd name="T42" fmla="*/ 398 w 1550"/>
                <a:gd name="T43" fmla="*/ 1132 h 1763"/>
                <a:gd name="T44" fmla="*/ 568 w 1550"/>
                <a:gd name="T45" fmla="*/ 1263 h 1763"/>
                <a:gd name="T46" fmla="*/ 572 w 1550"/>
                <a:gd name="T47" fmla="*/ 1294 h 1763"/>
                <a:gd name="T48" fmla="*/ 233 w 1550"/>
                <a:gd name="T49" fmla="*/ 1740 h 1763"/>
                <a:gd name="T50" fmla="*/ 181 w 1550"/>
                <a:gd name="T51" fmla="*/ 1763 h 1763"/>
                <a:gd name="T52" fmla="*/ 389 w 1550"/>
                <a:gd name="T53" fmla="*/ 1181 h 1763"/>
                <a:gd name="T54" fmla="*/ 62 w 1550"/>
                <a:gd name="T55" fmla="*/ 1610 h 1763"/>
                <a:gd name="T56" fmla="*/ 109 w 1550"/>
                <a:gd name="T57" fmla="*/ 1689 h 1763"/>
                <a:gd name="T58" fmla="*/ 170 w 1550"/>
                <a:gd name="T59" fmla="*/ 1718 h 1763"/>
                <a:gd name="T60" fmla="*/ 198 w 1550"/>
                <a:gd name="T61" fmla="*/ 1714 h 1763"/>
                <a:gd name="T62" fmla="*/ 524 w 1550"/>
                <a:gd name="T63" fmla="*/ 1284 h 1763"/>
                <a:gd name="T64" fmla="*/ 389 w 1550"/>
                <a:gd name="T65" fmla="*/ 1181 h 1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50" h="1763">
                  <a:moveTo>
                    <a:pt x="1270" y="179"/>
                  </a:moveTo>
                  <a:cubicBezTo>
                    <a:pt x="1034" y="0"/>
                    <a:pt x="697" y="45"/>
                    <a:pt x="517" y="280"/>
                  </a:cubicBezTo>
                  <a:cubicBezTo>
                    <a:pt x="358" y="488"/>
                    <a:pt x="375" y="777"/>
                    <a:pt x="545" y="965"/>
                  </a:cubicBezTo>
                  <a:cubicBezTo>
                    <a:pt x="466" y="1068"/>
                    <a:pt x="444" y="1098"/>
                    <a:pt x="437" y="1107"/>
                  </a:cubicBezTo>
                  <a:cubicBezTo>
                    <a:pt x="587" y="1222"/>
                    <a:pt x="587" y="1222"/>
                    <a:pt x="587" y="1222"/>
                  </a:cubicBezTo>
                  <a:cubicBezTo>
                    <a:pt x="694" y="1082"/>
                    <a:pt x="694" y="1082"/>
                    <a:pt x="694" y="1082"/>
                  </a:cubicBezTo>
                  <a:cubicBezTo>
                    <a:pt x="921" y="1201"/>
                    <a:pt x="1209" y="1143"/>
                    <a:pt x="1370" y="933"/>
                  </a:cubicBezTo>
                  <a:cubicBezTo>
                    <a:pt x="1550" y="697"/>
                    <a:pt x="1505" y="360"/>
                    <a:pt x="1270" y="179"/>
                  </a:cubicBezTo>
                  <a:close/>
                  <a:moveTo>
                    <a:pt x="1317" y="892"/>
                  </a:moveTo>
                  <a:cubicBezTo>
                    <a:pt x="1170" y="1084"/>
                    <a:pt x="903" y="1131"/>
                    <a:pt x="701" y="1009"/>
                  </a:cubicBezTo>
                  <a:cubicBezTo>
                    <a:pt x="686" y="1000"/>
                    <a:pt x="672" y="990"/>
                    <a:pt x="658" y="980"/>
                  </a:cubicBezTo>
                  <a:cubicBezTo>
                    <a:pt x="643" y="968"/>
                    <a:pt x="628" y="955"/>
                    <a:pt x="614" y="941"/>
                  </a:cubicBezTo>
                  <a:cubicBezTo>
                    <a:pt x="447" y="778"/>
                    <a:pt x="425" y="511"/>
                    <a:pt x="570" y="320"/>
                  </a:cubicBezTo>
                  <a:cubicBezTo>
                    <a:pt x="728" y="114"/>
                    <a:pt x="1023" y="75"/>
                    <a:pt x="1229" y="233"/>
                  </a:cubicBezTo>
                  <a:cubicBezTo>
                    <a:pt x="1435" y="390"/>
                    <a:pt x="1474" y="686"/>
                    <a:pt x="1317" y="892"/>
                  </a:cubicBezTo>
                  <a:close/>
                  <a:moveTo>
                    <a:pt x="181" y="1763"/>
                  </a:moveTo>
                  <a:cubicBezTo>
                    <a:pt x="175" y="1763"/>
                    <a:pt x="169" y="1762"/>
                    <a:pt x="162" y="1761"/>
                  </a:cubicBezTo>
                  <a:cubicBezTo>
                    <a:pt x="137" y="1757"/>
                    <a:pt x="108" y="1743"/>
                    <a:pt x="83" y="1724"/>
                  </a:cubicBezTo>
                  <a:cubicBezTo>
                    <a:pt x="24" y="1679"/>
                    <a:pt x="0" y="1619"/>
                    <a:pt x="27" y="1584"/>
                  </a:cubicBezTo>
                  <a:cubicBezTo>
                    <a:pt x="367" y="1136"/>
                    <a:pt x="367" y="1136"/>
                    <a:pt x="367" y="1136"/>
                  </a:cubicBezTo>
                  <a:cubicBezTo>
                    <a:pt x="371" y="1132"/>
                    <a:pt x="376" y="1129"/>
                    <a:pt x="382" y="1128"/>
                  </a:cubicBezTo>
                  <a:cubicBezTo>
                    <a:pt x="387" y="1127"/>
                    <a:pt x="393" y="1129"/>
                    <a:pt x="398" y="1132"/>
                  </a:cubicBezTo>
                  <a:cubicBezTo>
                    <a:pt x="568" y="1263"/>
                    <a:pt x="568" y="1263"/>
                    <a:pt x="568" y="1263"/>
                  </a:cubicBezTo>
                  <a:cubicBezTo>
                    <a:pt x="578" y="1270"/>
                    <a:pt x="579" y="1284"/>
                    <a:pt x="572" y="1294"/>
                  </a:cubicBezTo>
                  <a:cubicBezTo>
                    <a:pt x="233" y="1740"/>
                    <a:pt x="233" y="1740"/>
                    <a:pt x="233" y="1740"/>
                  </a:cubicBezTo>
                  <a:cubicBezTo>
                    <a:pt x="221" y="1755"/>
                    <a:pt x="203" y="1763"/>
                    <a:pt x="181" y="1763"/>
                  </a:cubicBezTo>
                  <a:close/>
                  <a:moveTo>
                    <a:pt x="389" y="1181"/>
                  </a:moveTo>
                  <a:cubicBezTo>
                    <a:pt x="62" y="1610"/>
                    <a:pt x="62" y="1610"/>
                    <a:pt x="62" y="1610"/>
                  </a:cubicBezTo>
                  <a:cubicBezTo>
                    <a:pt x="54" y="1621"/>
                    <a:pt x="69" y="1658"/>
                    <a:pt x="109" y="1689"/>
                  </a:cubicBezTo>
                  <a:cubicBezTo>
                    <a:pt x="129" y="1704"/>
                    <a:pt x="151" y="1714"/>
                    <a:pt x="170" y="1718"/>
                  </a:cubicBezTo>
                  <a:cubicBezTo>
                    <a:pt x="183" y="1720"/>
                    <a:pt x="194" y="1718"/>
                    <a:pt x="198" y="1714"/>
                  </a:cubicBezTo>
                  <a:cubicBezTo>
                    <a:pt x="524" y="1284"/>
                    <a:pt x="524" y="1284"/>
                    <a:pt x="524" y="1284"/>
                  </a:cubicBezTo>
                  <a:lnTo>
                    <a:pt x="389" y="11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1440104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6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E9212D52993E4F8265320D033A943C" ma:contentTypeVersion="2" ma:contentTypeDescription="Create a new document." ma:contentTypeScope="" ma:versionID="ea0cf5d3941db8e5a54687ca25d2c20e">
  <xsd:schema xmlns:xsd="http://www.w3.org/2001/XMLSchema" xmlns:xs="http://www.w3.org/2001/XMLSchema" xmlns:p="http://schemas.microsoft.com/office/2006/metadata/properties" xmlns:ns2="0cad4480-634b-4dc1-b906-238aba27b2e6" targetNamespace="http://schemas.microsoft.com/office/2006/metadata/properties" ma:root="true" ma:fieldsID="6a6f0196ce26980c544123a9e1b21f99" ns2:_="">
    <xsd:import namespace="0cad4480-634b-4dc1-b906-238aba27b2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ad4480-634b-4dc1-b906-238aba27b2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E689295-2476-41D0-BFA7-CE0B48831ED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5029F54-0AA0-465E-BDFC-9D464C811FB0}">
  <ds:schemaRefs>
    <ds:schemaRef ds:uri="0cad4480-634b-4dc1-b906-238aba27b2e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6556B70-628E-4B87-9F0F-B0F760CE055E}">
  <ds:schemaRefs>
    <ds:schemaRef ds:uri="0cad4480-634b-4dc1-b906-238aba27b2e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1525</Words>
  <Application>Microsoft Macintosh PowerPoint</Application>
  <PresentationFormat>Bildschirmpräsentation (16:9)</PresentationFormat>
  <Paragraphs>269</Paragraphs>
  <Slides>20</Slides>
  <Notes>1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8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38" baseType="lpstr">
      <vt:lpstr>Arial,Sans-Serif</vt:lpstr>
      <vt:lpstr>arial</vt:lpstr>
      <vt:lpstr>arial</vt:lpstr>
      <vt:lpstr>Calibri</vt:lpstr>
      <vt:lpstr>Cambria Math</vt:lpstr>
      <vt:lpstr>Courier New</vt:lpstr>
      <vt:lpstr>Symbol</vt:lpstr>
      <vt:lpstr>Trebuchet MS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Titel 1</vt:lpstr>
      <vt:lpstr>Titel 1</vt:lpstr>
      <vt:lpstr>think-cell Slide</vt:lpstr>
      <vt:lpstr>Pecha Kucha 3 – From prototyping to the final product</vt:lpstr>
      <vt:lpstr>Outline for today</vt:lpstr>
      <vt:lpstr>First mock-up of our web application </vt:lpstr>
      <vt:lpstr>Pre-processing: Achievements &amp; challenges  </vt:lpstr>
      <vt:lpstr>Data exploration: Understanding our data in depth</vt:lpstr>
      <vt:lpstr>Baseline model using hand engineered features</vt:lpstr>
      <vt:lpstr>Active Learning for labeling the data</vt:lpstr>
      <vt:lpstr>Active Learning for labeling the data</vt:lpstr>
      <vt:lpstr>Active Learning: Challenges &amp; next steps</vt:lpstr>
      <vt:lpstr>Introducing transfer learning</vt:lpstr>
      <vt:lpstr>Implementing transfer learning</vt:lpstr>
      <vt:lpstr>Implementing transfer learning</vt:lpstr>
      <vt:lpstr>Transfer learning: Network structure</vt:lpstr>
      <vt:lpstr>Challenge &amp; targets for transfer learning</vt:lpstr>
      <vt:lpstr>Using contrastive loss to train without labels</vt:lpstr>
      <vt:lpstr>We implemented self-supervised learning with Similar Siamese Networks</vt:lpstr>
      <vt:lpstr>Challenges and planned refinements for the Simple Siamese Network approach</vt:lpstr>
      <vt:lpstr>Challenges we are facing in our team</vt:lpstr>
      <vt:lpstr>Challenges we are facing as individuals</vt:lpstr>
      <vt:lpstr>PowerPoint-Präsentation</vt:lpstr>
    </vt:vector>
  </TitlesOfParts>
  <Company>--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a68bow</dc:creator>
  <cp:lastModifiedBy>Marc Asim SOYSAL</cp:lastModifiedBy>
  <cp:revision>2</cp:revision>
  <cp:lastPrinted>2015-07-30T14:04:45Z</cp:lastPrinted>
  <dcterms:created xsi:type="dcterms:W3CDTF">2017-11-15T09:52:15Z</dcterms:created>
  <dcterms:modified xsi:type="dcterms:W3CDTF">2022-07-18T15:4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E9212D52993E4F8265320D033A943C</vt:lpwstr>
  </property>
  <property fmtid="{D5CDD505-2E9C-101B-9397-08002B2CF9AE}" pid="3" name="MSIP_Label_b0d5c4f4-7a29-4385-b7a5-afbe2154ae6f_Enabled">
    <vt:lpwstr>true</vt:lpwstr>
  </property>
  <property fmtid="{D5CDD505-2E9C-101B-9397-08002B2CF9AE}" pid="4" name="MSIP_Label_b0d5c4f4-7a29-4385-b7a5-afbe2154ae6f_SetDate">
    <vt:lpwstr>2022-06-16T15:26:55Z</vt:lpwstr>
  </property>
  <property fmtid="{D5CDD505-2E9C-101B-9397-08002B2CF9AE}" pid="5" name="MSIP_Label_b0d5c4f4-7a29-4385-b7a5-afbe2154ae6f_Method">
    <vt:lpwstr>Standard</vt:lpwstr>
  </property>
  <property fmtid="{D5CDD505-2E9C-101B-9397-08002B2CF9AE}" pid="6" name="MSIP_Label_b0d5c4f4-7a29-4385-b7a5-afbe2154ae6f_Name">
    <vt:lpwstr>Confidential</vt:lpwstr>
  </property>
  <property fmtid="{D5CDD505-2E9C-101B-9397-08002B2CF9AE}" pid="7" name="MSIP_Label_b0d5c4f4-7a29-4385-b7a5-afbe2154ae6f_SiteId">
    <vt:lpwstr>2dfb2f0b-4d21-4268-9559-72926144c918</vt:lpwstr>
  </property>
  <property fmtid="{D5CDD505-2E9C-101B-9397-08002B2CF9AE}" pid="8" name="MSIP_Label_b0d5c4f4-7a29-4385-b7a5-afbe2154ae6f_ActionId">
    <vt:lpwstr>69721263-341e-4451-878b-696319a296a5</vt:lpwstr>
  </property>
  <property fmtid="{D5CDD505-2E9C-101B-9397-08002B2CF9AE}" pid="9" name="MSIP_Label_b0d5c4f4-7a29-4385-b7a5-afbe2154ae6f_ContentBits">
    <vt:lpwstr>0</vt:lpwstr>
  </property>
  <property fmtid="{D5CDD505-2E9C-101B-9397-08002B2CF9AE}" pid="10" name="bcgClassification">
    <vt:lpwstr>bcgConfidential</vt:lpwstr>
  </property>
</Properties>
</file>